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8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25"/>
  </p:notesMasterIdLst>
  <p:handoutMasterIdLst>
    <p:handoutMasterId r:id="rId26"/>
  </p:handoutMasterIdLst>
  <p:sldIdLst>
    <p:sldId id="288" r:id="rId2"/>
    <p:sldId id="362" r:id="rId3"/>
    <p:sldId id="338" r:id="rId4"/>
    <p:sldId id="336" r:id="rId5"/>
    <p:sldId id="323" r:id="rId6"/>
    <p:sldId id="374" r:id="rId7"/>
    <p:sldId id="384" r:id="rId8"/>
    <p:sldId id="388" r:id="rId9"/>
    <p:sldId id="446" r:id="rId10"/>
    <p:sldId id="454" r:id="rId11"/>
    <p:sldId id="455" r:id="rId12"/>
    <p:sldId id="456" r:id="rId13"/>
    <p:sldId id="457" r:id="rId14"/>
    <p:sldId id="458" r:id="rId15"/>
    <p:sldId id="459" r:id="rId16"/>
    <p:sldId id="460" r:id="rId17"/>
    <p:sldId id="408" r:id="rId18"/>
    <p:sldId id="453" r:id="rId19"/>
    <p:sldId id="438" r:id="rId20"/>
    <p:sldId id="424" r:id="rId21"/>
    <p:sldId id="462" r:id="rId22"/>
    <p:sldId id="461" r:id="rId23"/>
    <p:sldId id="435" r:id="rId24"/>
  </p:sldIdLst>
  <p:sldSz cx="9144000" cy="6858000" type="screen4x3"/>
  <p:notesSz cx="6797675" cy="9926638"/>
  <p:defaultTextStyle>
    <a:defPPr>
      <a:defRPr lang="en-US"/>
    </a:defPPr>
    <a:lvl1pPr algn="l" rtl="0" fontAlgn="base">
      <a:spcBef>
        <a:spcPct val="40000"/>
      </a:spcBef>
      <a:spcAft>
        <a:spcPct val="0"/>
      </a:spcAft>
      <a:buClr>
        <a:srgbClr val="006699"/>
      </a:buClr>
      <a:buFont typeface="Wingdings" pitchFamily="2" charset="2"/>
      <a:buChar char="§"/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40000"/>
      </a:spcBef>
      <a:spcAft>
        <a:spcPct val="0"/>
      </a:spcAft>
      <a:buClr>
        <a:srgbClr val="006699"/>
      </a:buClr>
      <a:buFont typeface="Wingdings" pitchFamily="2" charset="2"/>
      <a:buChar char="§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40000"/>
      </a:spcBef>
      <a:spcAft>
        <a:spcPct val="0"/>
      </a:spcAft>
      <a:buClr>
        <a:srgbClr val="006699"/>
      </a:buClr>
      <a:buFont typeface="Wingdings" pitchFamily="2" charset="2"/>
      <a:buChar char="§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40000"/>
      </a:spcBef>
      <a:spcAft>
        <a:spcPct val="0"/>
      </a:spcAft>
      <a:buClr>
        <a:srgbClr val="006699"/>
      </a:buClr>
      <a:buFont typeface="Wingdings" pitchFamily="2" charset="2"/>
      <a:buChar char="§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40000"/>
      </a:spcBef>
      <a:spcAft>
        <a:spcPct val="0"/>
      </a:spcAft>
      <a:buClr>
        <a:srgbClr val="006699"/>
      </a:buClr>
      <a:buFont typeface="Wingdings" pitchFamily="2" charset="2"/>
      <a:buChar char="§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CCFF"/>
    <a:srgbClr val="808080"/>
    <a:srgbClr val="C3DAF3"/>
    <a:srgbClr val="99CCFF"/>
    <a:srgbClr val="C0C0C0"/>
    <a:srgbClr val="DDDDDD"/>
    <a:srgbClr val="990000"/>
    <a:srgbClr val="0061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7" autoAdjust="0"/>
    <p:restoredTop sz="94599" autoAdjust="0"/>
  </p:normalViewPr>
  <p:slideViewPr>
    <p:cSldViewPr snapToGrid="0" snapToObjects="1">
      <p:cViewPr varScale="1">
        <p:scale>
          <a:sx n="70" d="100"/>
          <a:sy n="70" d="100"/>
        </p:scale>
        <p:origin x="1410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95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53" tIns="46077" rIns="92153" bIns="46077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FontTx/>
              <a:buNone/>
              <a:defRPr sz="1200" noProof="1" smtClean="0">
                <a:latin typeface="Times New Roman" pitchFamily="18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819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098" y="0"/>
            <a:ext cx="294495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53" tIns="46077" rIns="92153" bIns="46077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FontTx/>
              <a:buNone/>
              <a:defRPr sz="1200" noProof="1" smtClean="0"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19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495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53" tIns="46077" rIns="92153" bIns="46077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FontTx/>
              <a:buNone/>
              <a:defRPr sz="1200" noProof="1" smtClean="0">
                <a:latin typeface="Times New Roman" pitchFamily="18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819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098" y="9428163"/>
            <a:ext cx="294495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53" tIns="46077" rIns="92153" bIns="46077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FontTx/>
              <a:buNone/>
              <a:defRPr sz="1200" noProof="1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D651F66C-8434-4A06-8150-5E2D329C812D}" type="slidenum">
              <a:rPr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101405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95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53" tIns="46077" rIns="92153" bIns="46077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FontTx/>
              <a:buNone/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098" y="0"/>
            <a:ext cx="294495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53" tIns="46077" rIns="92153" bIns="46077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FontTx/>
              <a:buNone/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39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606" y="4714876"/>
            <a:ext cx="5438464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53" tIns="46077" rIns="92153" bIns="460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495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53" tIns="46077" rIns="92153" bIns="46077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FontTx/>
              <a:buNone/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098" y="9428163"/>
            <a:ext cx="294495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53" tIns="46077" rIns="92153" bIns="46077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FontTx/>
              <a:buNone/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5DB2C406-FCB0-401B-B7C2-488610B437C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571592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AFB76F8-9B4E-4755-9482-09496A77B778}" type="slidenum">
              <a:rPr lang="de-DE"/>
              <a:pPr/>
              <a:t>1</a:t>
            </a:fld>
            <a:endParaRPr lang="de-DE"/>
          </a:p>
        </p:txBody>
      </p:sp>
      <p:sp>
        <p:nvSpPr>
          <p:cNvPr id="84995" name="Rectangle 7"/>
          <p:cNvSpPr txBox="1">
            <a:spLocks noGrp="1" noChangeArrowheads="1"/>
          </p:cNvSpPr>
          <p:nvPr/>
        </p:nvSpPr>
        <p:spPr bwMode="auto">
          <a:xfrm>
            <a:off x="3854335" y="9434514"/>
            <a:ext cx="294334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564" tIns="47786" rIns="95564" bIns="47786" anchor="b"/>
          <a:lstStyle/>
          <a:p>
            <a:pPr algn="r" defTabSz="955130">
              <a:spcBef>
                <a:spcPct val="0"/>
              </a:spcBef>
              <a:buClrTx/>
              <a:buNone/>
            </a:pPr>
            <a:fld id="{5BF3192B-A779-41A2-B33B-B95DE8CD13CA}" type="slidenum">
              <a:rPr lang="en-GB" sz="1300"/>
              <a:pPr algn="r" defTabSz="955130">
                <a:spcBef>
                  <a:spcPct val="0"/>
                </a:spcBef>
                <a:buClrTx/>
                <a:buNone/>
              </a:pPr>
              <a:t>1</a:t>
            </a:fld>
            <a:endParaRPr lang="en-GB" sz="1300"/>
          </a:p>
        </p:txBody>
      </p:sp>
      <p:sp>
        <p:nvSpPr>
          <p:cNvPr id="8499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4538"/>
            <a:ext cx="4967287" cy="3724275"/>
          </a:xfrm>
          <a:ln/>
        </p:spPr>
      </p:sp>
      <p:sp>
        <p:nvSpPr>
          <p:cNvPr id="8499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141" y="4714876"/>
            <a:ext cx="4985393" cy="4467225"/>
          </a:xfrm>
          <a:noFill/>
          <a:ln/>
        </p:spPr>
        <p:txBody>
          <a:bodyPr lIns="95564" tIns="47786" rIns="95564" bIns="47786"/>
          <a:lstStyle/>
          <a:p>
            <a:pPr eaLnBrk="1" hangingPunct="1"/>
            <a:endParaRPr lang="cs-CZ" smtClean="0"/>
          </a:p>
          <a:p>
            <a:pPr eaLnBrk="1" hangingPunct="1"/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37758754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209675" y="685800"/>
            <a:ext cx="4573588" cy="3429000"/>
          </a:xfrm>
          <a:ln/>
        </p:spPr>
      </p:sp>
      <p:sp>
        <p:nvSpPr>
          <p:cNvPr id="15363" name="Zástupný symbol pro poznámky 2"/>
          <p:cNvSpPr>
            <a:spLocks noGrp="1"/>
          </p:cNvSpPr>
          <p:nvPr>
            <p:ph type="body" idx="1"/>
          </p:nvPr>
        </p:nvSpPr>
        <p:spPr>
          <a:xfrm>
            <a:off x="699023" y="4344988"/>
            <a:ext cx="5592184" cy="411321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/>
          <a:lstStyle/>
          <a:p>
            <a:pPr eaLnBrk="1" hangingPunct="1"/>
            <a:endParaRPr lang="en-US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364" name="Zástupný symbol pro číslo snímku 3"/>
          <p:cNvSpPr txBox="1">
            <a:spLocks noGrp="1"/>
          </p:cNvSpPr>
          <p:nvPr/>
        </p:nvSpPr>
        <p:spPr bwMode="auto">
          <a:xfrm>
            <a:off x="3957894" y="8685214"/>
            <a:ext cx="30307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b"/>
          <a:lstStyle>
            <a:lvl1pPr defTabSz="9064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64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64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64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64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ADB0B860-4EA1-4CFB-9A5C-493992C986E4}" type="slidenum">
              <a:rPr lang="cs-CZ"/>
              <a:pPr algn="r" eaLnBrk="1" hangingPunct="1">
                <a:spcBef>
                  <a:spcPct val="0"/>
                </a:spcBef>
              </a:pPr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365549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8745" indent="-28797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51915" indent="-23038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12682" indent="-23038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73448" indent="-23038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34214" indent="-23038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94980" indent="-23038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55746" indent="-23038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916512" indent="-23038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E8383B14-FDE3-4079-B976-E53DD179F625}" type="slidenum">
              <a:rPr lang="de-DE" altLang="ru-RU" smtClean="0"/>
              <a:pPr eaLnBrk="1" hangingPunct="1">
                <a:spcBef>
                  <a:spcPct val="0"/>
                </a:spcBef>
              </a:pPr>
              <a:t>21</a:t>
            </a:fld>
            <a:endParaRPr lang="de-DE" altLang="ru-RU" smtClean="0"/>
          </a:p>
        </p:txBody>
      </p:sp>
      <p:sp>
        <p:nvSpPr>
          <p:cNvPr id="129027" name="Rectangle 7"/>
          <p:cNvSpPr txBox="1">
            <a:spLocks noGrp="1" noChangeArrowheads="1"/>
          </p:cNvSpPr>
          <p:nvPr/>
        </p:nvSpPr>
        <p:spPr bwMode="auto">
          <a:xfrm>
            <a:off x="3851277" y="9428164"/>
            <a:ext cx="2944813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153" tIns="46077" rIns="92153" bIns="46077" anchor="b"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FontTx/>
              <a:buNone/>
            </a:pPr>
            <a:fld id="{D335AB01-26BB-4C70-AC33-DA23BB8E0D16}" type="slidenum">
              <a:rPr lang="de-DE" altLang="ru-RU">
                <a:solidFill>
                  <a:srgbClr val="000000"/>
                </a:solidFill>
                <a:latin typeface="Calibri" pitchFamily="34" charset="0"/>
                <a:cs typeface="Arial" charset="0"/>
              </a:rPr>
              <a:pPr algn="r" eaLnBrk="1" hangingPunct="1">
                <a:spcBef>
                  <a:spcPct val="0"/>
                </a:spcBef>
                <a:buClrTx/>
                <a:buFontTx/>
                <a:buNone/>
              </a:pPr>
              <a:t>21</a:t>
            </a:fld>
            <a:endParaRPr lang="de-DE" altLang="ru-RU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290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4538"/>
            <a:ext cx="4967287" cy="3724275"/>
          </a:xfrm>
          <a:ln/>
        </p:spPr>
      </p:sp>
      <p:sp>
        <p:nvSpPr>
          <p:cNvPr id="1290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464" y="4714877"/>
            <a:ext cx="4984750" cy="44672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de-DE" altLang="ru-RU" smtClean="0"/>
          </a:p>
        </p:txBody>
      </p:sp>
      <p:sp>
        <p:nvSpPr>
          <p:cNvPr id="129030" name="Zástupný symbol pro zápatí 1"/>
          <p:cNvSpPr txBox="1">
            <a:spLocks noGrp="1"/>
          </p:cNvSpPr>
          <p:nvPr/>
        </p:nvSpPr>
        <p:spPr bwMode="auto">
          <a:xfrm>
            <a:off x="1" y="9428164"/>
            <a:ext cx="2944813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153" tIns="46077" rIns="92153" bIns="46077" anchor="b"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de-DE" altLang="ru-RU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6166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911E7F2-0011-4484-918C-E5149DE3D62E}" type="slidenum">
              <a:rPr lang="de-DE"/>
              <a:pPr/>
              <a:t>23</a:t>
            </a:fld>
            <a:endParaRPr lang="de-DE"/>
          </a:p>
        </p:txBody>
      </p:sp>
      <p:sp>
        <p:nvSpPr>
          <p:cNvPr id="152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638" y="-14288"/>
            <a:ext cx="6759575" cy="5068888"/>
          </a:xfrm>
          <a:ln/>
        </p:spPr>
      </p:sp>
      <p:sp>
        <p:nvSpPr>
          <p:cNvPr id="1525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7571" y="5300663"/>
            <a:ext cx="6373730" cy="4089400"/>
          </a:xfrm>
          <a:noFill/>
          <a:ln/>
        </p:spPr>
        <p:txBody>
          <a:bodyPr lIns="90415" tIns="45210" rIns="90415" bIns="45210"/>
          <a:lstStyle/>
          <a:p>
            <a:pPr eaLnBrk="1" hangingPunct="1"/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36421340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4D47AA5-20F9-4F00-822C-BFE3CFCEBADC}" type="slidenum">
              <a:rPr lang="de-DE"/>
              <a:pPr/>
              <a:t>2</a:t>
            </a:fld>
            <a:endParaRPr lang="de-DE"/>
          </a:p>
        </p:txBody>
      </p:sp>
      <p:sp>
        <p:nvSpPr>
          <p:cNvPr id="870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4538"/>
            <a:ext cx="4967287" cy="3724275"/>
          </a:xfrm>
          <a:ln/>
        </p:spPr>
      </p:sp>
      <p:sp>
        <p:nvSpPr>
          <p:cNvPr id="870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141" y="4714876"/>
            <a:ext cx="4985393" cy="4467225"/>
          </a:xfrm>
          <a:noFill/>
          <a:ln/>
        </p:spPr>
        <p:txBody>
          <a:bodyPr/>
          <a:lstStyle/>
          <a:p>
            <a:pPr eaLnBrk="1" hangingPunct="1"/>
            <a:endParaRPr lang="cs-CZ" noProof="1" smtClean="0"/>
          </a:p>
        </p:txBody>
      </p:sp>
    </p:spTree>
    <p:extLst>
      <p:ext uri="{BB962C8B-B14F-4D97-AF65-F5344CB8AC3E}">
        <p14:creationId xmlns:p14="http://schemas.microsoft.com/office/powerpoint/2010/main" val="41574379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56B489D-4656-49C0-BA6D-FAC4103C2441}" type="slidenum">
              <a:rPr lang="de-DE"/>
              <a:pPr/>
              <a:t>3</a:t>
            </a:fld>
            <a:endParaRPr lang="de-DE"/>
          </a:p>
        </p:txBody>
      </p:sp>
      <p:sp>
        <p:nvSpPr>
          <p:cNvPr id="880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4538"/>
            <a:ext cx="4967287" cy="3724275"/>
          </a:xfrm>
          <a:ln/>
        </p:spPr>
      </p:sp>
      <p:sp>
        <p:nvSpPr>
          <p:cNvPr id="880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141" y="4714876"/>
            <a:ext cx="4985393" cy="4467225"/>
          </a:xfrm>
          <a:noFill/>
          <a:ln/>
        </p:spPr>
        <p:txBody>
          <a:bodyPr/>
          <a:lstStyle/>
          <a:p>
            <a:pPr eaLnBrk="1" hangingPunct="1"/>
            <a:endParaRPr lang="cs-CZ" noProof="1" smtClean="0"/>
          </a:p>
        </p:txBody>
      </p:sp>
    </p:spTree>
    <p:extLst>
      <p:ext uri="{BB962C8B-B14F-4D97-AF65-F5344CB8AC3E}">
        <p14:creationId xmlns:p14="http://schemas.microsoft.com/office/powerpoint/2010/main" val="42549658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C2B8643-CDDA-4F9E-BC2F-BC128C60BF86}" type="slidenum">
              <a:rPr lang="de-DE"/>
              <a:pPr/>
              <a:t>5</a:t>
            </a:fld>
            <a:endParaRPr lang="de-DE"/>
          </a:p>
        </p:txBody>
      </p:sp>
      <p:sp>
        <p:nvSpPr>
          <p:cNvPr id="952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638" y="-14288"/>
            <a:ext cx="6759575" cy="5068888"/>
          </a:xfrm>
          <a:ln/>
        </p:spPr>
      </p:sp>
      <p:sp>
        <p:nvSpPr>
          <p:cNvPr id="952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7571" y="5300663"/>
            <a:ext cx="6373730" cy="4089400"/>
          </a:xfrm>
          <a:noFill/>
          <a:ln/>
        </p:spPr>
        <p:txBody>
          <a:bodyPr lIns="90415" tIns="45210" rIns="90415" bIns="45210"/>
          <a:lstStyle/>
          <a:p>
            <a:pPr eaLnBrk="1" hangingPunct="1"/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40821141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CC24DC8-CC83-4AC2-8BDB-7305F097CDDB}" type="slidenum">
              <a:rPr lang="de-DE"/>
              <a:pPr/>
              <a:t>6</a:t>
            </a:fld>
            <a:endParaRPr lang="de-DE"/>
          </a:p>
        </p:txBody>
      </p:sp>
      <p:sp>
        <p:nvSpPr>
          <p:cNvPr id="972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638" y="-14288"/>
            <a:ext cx="6759575" cy="5068888"/>
          </a:xfrm>
          <a:ln/>
        </p:spPr>
      </p:sp>
      <p:sp>
        <p:nvSpPr>
          <p:cNvPr id="972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7571" y="5300663"/>
            <a:ext cx="6373730" cy="4089400"/>
          </a:xfrm>
          <a:noFill/>
          <a:ln/>
        </p:spPr>
        <p:txBody>
          <a:bodyPr lIns="90415" tIns="45210" rIns="90415" bIns="45210"/>
          <a:lstStyle/>
          <a:p>
            <a:pPr eaLnBrk="1" hangingPunct="1"/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12092679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C1EFFB8-7D23-4DD9-B08F-A8DBB5985170}" type="slidenum">
              <a:rPr lang="de-DE"/>
              <a:pPr/>
              <a:t>7</a:t>
            </a:fld>
            <a:endParaRPr lang="de-DE"/>
          </a:p>
        </p:txBody>
      </p:sp>
      <p:sp>
        <p:nvSpPr>
          <p:cNvPr id="1044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638" y="-14288"/>
            <a:ext cx="6759575" cy="5068888"/>
          </a:xfrm>
          <a:ln/>
        </p:spPr>
      </p:sp>
      <p:sp>
        <p:nvSpPr>
          <p:cNvPr id="1044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7571" y="5300663"/>
            <a:ext cx="6373730" cy="4089400"/>
          </a:xfrm>
          <a:noFill/>
          <a:ln/>
        </p:spPr>
        <p:txBody>
          <a:bodyPr lIns="90415" tIns="45210" rIns="90415" bIns="45210"/>
          <a:lstStyle/>
          <a:p>
            <a:pPr eaLnBrk="1" hangingPunct="1"/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12571853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858CD89-1865-4148-9D8A-5C46F56B6E79}" type="slidenum">
              <a:rPr lang="de-DE"/>
              <a:pPr/>
              <a:t>8</a:t>
            </a:fld>
            <a:endParaRPr lang="de-DE"/>
          </a:p>
        </p:txBody>
      </p:sp>
      <p:sp>
        <p:nvSpPr>
          <p:cNvPr id="1116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638" y="-14288"/>
            <a:ext cx="6759575" cy="5068888"/>
          </a:xfrm>
          <a:ln/>
        </p:spPr>
      </p:sp>
      <p:sp>
        <p:nvSpPr>
          <p:cNvPr id="1116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7571" y="5300663"/>
            <a:ext cx="6373730" cy="4089400"/>
          </a:xfrm>
          <a:noFill/>
          <a:ln/>
        </p:spPr>
        <p:txBody>
          <a:bodyPr lIns="90415" tIns="45210" rIns="90415" bIns="45210"/>
          <a:lstStyle/>
          <a:p>
            <a:pPr eaLnBrk="1" hangingPunct="1"/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4889913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8F9F819-24EF-43EF-B832-FA6DBEE65138}" type="slidenum">
              <a:rPr lang="de-DE"/>
              <a:pPr/>
              <a:t>9</a:t>
            </a:fld>
            <a:endParaRPr lang="de-DE"/>
          </a:p>
        </p:txBody>
      </p:sp>
      <p:sp>
        <p:nvSpPr>
          <p:cNvPr id="1269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638" y="-14288"/>
            <a:ext cx="6759575" cy="5068888"/>
          </a:xfrm>
          <a:ln/>
        </p:spPr>
      </p:sp>
      <p:sp>
        <p:nvSpPr>
          <p:cNvPr id="1269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7571" y="5300663"/>
            <a:ext cx="6373730" cy="4089400"/>
          </a:xfrm>
          <a:noFill/>
          <a:ln/>
        </p:spPr>
        <p:txBody>
          <a:bodyPr lIns="90415" tIns="45210" rIns="90415" bIns="45210"/>
          <a:lstStyle/>
          <a:p>
            <a:pPr eaLnBrk="1" hangingPunct="1"/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5957424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AE473C1-1728-4A7B-852B-7BA70CE2F2C0}" type="slidenum">
              <a:rPr lang="de-DE"/>
              <a:pPr/>
              <a:t>17</a:t>
            </a:fld>
            <a:endParaRPr lang="de-DE"/>
          </a:p>
        </p:txBody>
      </p:sp>
      <p:sp>
        <p:nvSpPr>
          <p:cNvPr id="129027" name="Rectangle 7"/>
          <p:cNvSpPr txBox="1">
            <a:spLocks noGrp="1" noChangeArrowheads="1"/>
          </p:cNvSpPr>
          <p:nvPr/>
        </p:nvSpPr>
        <p:spPr bwMode="auto">
          <a:xfrm>
            <a:off x="3851098" y="9428163"/>
            <a:ext cx="294495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153" tIns="46077" rIns="92153" bIns="46077" anchor="b"/>
          <a:lstStyle/>
          <a:p>
            <a:pPr algn="r">
              <a:spcBef>
                <a:spcPct val="0"/>
              </a:spcBef>
              <a:buClrTx/>
              <a:buFontTx/>
              <a:buNone/>
            </a:pPr>
            <a:fld id="{05D6AE3B-0281-46AC-8056-7116C0AAD9A6}" type="slidenum">
              <a:rPr lang="de-DE" sz="1200">
                <a:solidFill>
                  <a:srgbClr val="000000"/>
                </a:solidFill>
                <a:latin typeface="Calibri" pitchFamily="34" charset="0"/>
                <a:cs typeface="Arial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17</a:t>
            </a:fld>
            <a:endParaRPr lang="de-DE" sz="120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290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4538"/>
            <a:ext cx="4967287" cy="3724275"/>
          </a:xfrm>
          <a:ln/>
        </p:spPr>
      </p:sp>
      <p:sp>
        <p:nvSpPr>
          <p:cNvPr id="1290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141" y="4714876"/>
            <a:ext cx="4985393" cy="4467225"/>
          </a:xfrm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de-DE" smtClean="0"/>
          </a:p>
        </p:txBody>
      </p:sp>
      <p:sp>
        <p:nvSpPr>
          <p:cNvPr id="129030" name="Zástupný symbol pro zápatí 1"/>
          <p:cNvSpPr txBox="1">
            <a:spLocks noGrp="1"/>
          </p:cNvSpPr>
          <p:nvPr/>
        </p:nvSpPr>
        <p:spPr bwMode="auto">
          <a:xfrm>
            <a:off x="0" y="9428163"/>
            <a:ext cx="294495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153" tIns="46077" rIns="92153" bIns="46077" anchor="b"/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120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8288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ALTA_logo_barevn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5138" y="4851400"/>
            <a:ext cx="1238250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2" name="Rectangle 7"/>
          <p:cNvSpPr>
            <a:spLocks noGrp="1" noChangeArrowheads="1"/>
          </p:cNvSpPr>
          <p:nvPr>
            <p:ph type="ctrTitle"/>
          </p:nvPr>
        </p:nvSpPr>
        <p:spPr>
          <a:xfrm>
            <a:off x="482600" y="909638"/>
            <a:ext cx="3933825" cy="1423987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2293" name="Rectangle 12"/>
          <p:cNvSpPr>
            <a:spLocks noGrp="1" noChangeArrowheads="1"/>
          </p:cNvSpPr>
          <p:nvPr>
            <p:ph type="subTitle" idx="1"/>
          </p:nvPr>
        </p:nvSpPr>
        <p:spPr>
          <a:xfrm>
            <a:off x="465138" y="1944688"/>
            <a:ext cx="3641725" cy="1120775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200" b="0"/>
            </a:lvl1pPr>
          </a:lstStyle>
          <a:p>
            <a:r>
              <a:rPr lang="de-DE"/>
              <a:t>Formatvorlage des Untertitelmasters durch Klicken bearbeiten</a:t>
            </a:r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Страница</a:t>
            </a:r>
            <a:r>
              <a:rPr lang="de-DE"/>
              <a:t> </a:t>
            </a:r>
            <a:r>
              <a:rPr lang="de-DE">
                <a:sym typeface="Wingdings" pitchFamily="2" charset="2"/>
              </a:rPr>
              <a:t></a:t>
            </a:r>
            <a:r>
              <a:rPr lang="de-DE"/>
              <a:t> </a:t>
            </a:r>
            <a:fld id="{AD5BA1D3-AF31-41A5-9CBD-C7847472E1C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708775" y="82550"/>
            <a:ext cx="2130425" cy="5922963"/>
          </a:xfrm>
        </p:spPr>
        <p:txBody>
          <a:bodyPr vert="eaVert"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314325" y="82550"/>
            <a:ext cx="6242050" cy="5922963"/>
          </a:xfrm>
        </p:spPr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Страница</a:t>
            </a:r>
            <a:r>
              <a:rPr lang="de-DE"/>
              <a:t> </a:t>
            </a:r>
            <a:r>
              <a:rPr lang="de-DE">
                <a:sym typeface="Wingdings" pitchFamily="2" charset="2"/>
              </a:rPr>
              <a:t></a:t>
            </a:r>
            <a:r>
              <a:rPr lang="de-DE"/>
              <a:t> </a:t>
            </a:r>
            <a:fld id="{3BE2EE36-7D2C-41E9-ABFD-D190192A136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Nadpis a tabul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14325" y="82550"/>
            <a:ext cx="8524875" cy="600075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abulku 2"/>
          <p:cNvSpPr>
            <a:spLocks noGrp="1"/>
          </p:cNvSpPr>
          <p:nvPr>
            <p:ph type="tbl" idx="1"/>
          </p:nvPr>
        </p:nvSpPr>
        <p:spPr>
          <a:xfrm>
            <a:off x="314325" y="1614488"/>
            <a:ext cx="8524875" cy="4391025"/>
          </a:xfrm>
        </p:spPr>
        <p:txBody>
          <a:bodyPr/>
          <a:lstStyle/>
          <a:p>
            <a:pPr lvl="0"/>
            <a:endParaRPr lang="cs-CZ" noProof="0" smtClean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Страница</a:t>
            </a:r>
            <a:r>
              <a:rPr lang="de-DE"/>
              <a:t> </a:t>
            </a:r>
            <a:r>
              <a:rPr lang="de-DE">
                <a:sym typeface="Wingdings" pitchFamily="2" charset="2"/>
              </a:rPr>
              <a:t></a:t>
            </a:r>
            <a:r>
              <a:rPr lang="de-DE"/>
              <a:t> </a:t>
            </a:r>
            <a:fld id="{CF189EBE-5356-4A37-A795-FF8F69210D2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Nadpis a gr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14325" y="82550"/>
            <a:ext cx="8524875" cy="600075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graf 2"/>
          <p:cNvSpPr>
            <a:spLocks noGrp="1"/>
          </p:cNvSpPr>
          <p:nvPr>
            <p:ph type="chart" idx="1"/>
          </p:nvPr>
        </p:nvSpPr>
        <p:spPr>
          <a:xfrm>
            <a:off x="314325" y="1614488"/>
            <a:ext cx="8524875" cy="4391025"/>
          </a:xfrm>
        </p:spPr>
        <p:txBody>
          <a:bodyPr/>
          <a:lstStyle/>
          <a:p>
            <a:pPr lvl="0"/>
            <a:endParaRPr lang="cs-CZ" noProof="0" smtClean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Страница</a:t>
            </a:r>
            <a:r>
              <a:rPr lang="de-DE"/>
              <a:t> </a:t>
            </a:r>
            <a:r>
              <a:rPr lang="de-DE">
                <a:sym typeface="Wingdings" pitchFamily="2" charset="2"/>
              </a:rPr>
              <a:t></a:t>
            </a:r>
            <a:r>
              <a:rPr lang="de-DE"/>
              <a:t> </a:t>
            </a:r>
            <a:fld id="{DCED35D6-F1D4-4972-AB03-0EE4B23FC1C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dgm" preserve="1">
  <p:cSld name="Nadpis a diagram nebo organizační sché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14325" y="82550"/>
            <a:ext cx="8524875" cy="600075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jekt SmartArt 2"/>
          <p:cNvSpPr>
            <a:spLocks noGrp="1"/>
          </p:cNvSpPr>
          <p:nvPr>
            <p:ph type="dgm" idx="1"/>
          </p:nvPr>
        </p:nvSpPr>
        <p:spPr>
          <a:xfrm>
            <a:off x="314325" y="1614488"/>
            <a:ext cx="8524875" cy="4391025"/>
          </a:xfrm>
        </p:spPr>
        <p:txBody>
          <a:bodyPr/>
          <a:lstStyle/>
          <a:p>
            <a:pPr lvl="0"/>
            <a:endParaRPr lang="cs-CZ" noProof="0" smtClean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Страница</a:t>
            </a:r>
            <a:r>
              <a:rPr lang="de-DE"/>
              <a:t> </a:t>
            </a:r>
            <a:r>
              <a:rPr lang="de-DE">
                <a:sym typeface="Wingdings" pitchFamily="2" charset="2"/>
              </a:rPr>
              <a:t></a:t>
            </a:r>
            <a:r>
              <a:rPr lang="de-DE"/>
              <a:t> </a:t>
            </a:r>
            <a:fld id="{CC402A6E-E709-484F-A74B-7D2D65D4431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Страница</a:t>
            </a:r>
            <a:r>
              <a:rPr lang="de-DE"/>
              <a:t> </a:t>
            </a:r>
            <a:r>
              <a:rPr lang="de-DE">
                <a:sym typeface="Wingdings" pitchFamily="2" charset="2"/>
              </a:rPr>
              <a:t></a:t>
            </a:r>
            <a:r>
              <a:rPr lang="de-DE"/>
              <a:t> </a:t>
            </a:r>
            <a:fld id="{6BBD59B7-164E-4FB4-9F87-0AA512BE9F0D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Страница</a:t>
            </a:r>
            <a:r>
              <a:rPr lang="de-DE"/>
              <a:t> </a:t>
            </a:r>
            <a:r>
              <a:rPr lang="de-DE">
                <a:sym typeface="Wingdings" pitchFamily="2" charset="2"/>
              </a:rPr>
              <a:t></a:t>
            </a:r>
            <a:r>
              <a:rPr lang="de-DE"/>
              <a:t> </a:t>
            </a:r>
            <a:fld id="{BC042A2B-471D-4B1E-B5F5-6A6279017A0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314325" y="1614488"/>
            <a:ext cx="4186238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52963" y="1614488"/>
            <a:ext cx="4186237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Страница</a:t>
            </a:r>
            <a:r>
              <a:rPr lang="de-DE"/>
              <a:t> </a:t>
            </a:r>
            <a:r>
              <a:rPr lang="de-DE">
                <a:sym typeface="Wingdings" pitchFamily="2" charset="2"/>
              </a:rPr>
              <a:t></a:t>
            </a:r>
            <a:r>
              <a:rPr lang="de-DE"/>
              <a:t> </a:t>
            </a:r>
            <a:fld id="{2EFB7841-B2A6-4FB3-942C-08DDCCA0AE3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Страница</a:t>
            </a:r>
            <a:r>
              <a:rPr lang="de-DE"/>
              <a:t> </a:t>
            </a:r>
            <a:r>
              <a:rPr lang="de-DE">
                <a:sym typeface="Wingdings" pitchFamily="2" charset="2"/>
              </a:rPr>
              <a:t></a:t>
            </a:r>
            <a:r>
              <a:rPr lang="de-DE"/>
              <a:t> </a:t>
            </a:r>
            <a:fld id="{4405CEB2-E74F-4C70-8617-4E462EFCB64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Страница</a:t>
            </a:r>
            <a:r>
              <a:rPr lang="de-DE"/>
              <a:t> </a:t>
            </a:r>
            <a:r>
              <a:rPr lang="de-DE">
                <a:sym typeface="Wingdings" pitchFamily="2" charset="2"/>
              </a:rPr>
              <a:t></a:t>
            </a:r>
            <a:r>
              <a:rPr lang="de-DE"/>
              <a:t> </a:t>
            </a:r>
            <a:fld id="{1CB9A6D7-E0BD-4F7A-93B7-F963A2EA48A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Страница</a:t>
            </a:r>
            <a:r>
              <a:rPr lang="de-DE"/>
              <a:t> </a:t>
            </a:r>
            <a:r>
              <a:rPr lang="de-DE">
                <a:sym typeface="Wingdings" pitchFamily="2" charset="2"/>
              </a:rPr>
              <a:t></a:t>
            </a:r>
            <a:r>
              <a:rPr lang="de-DE"/>
              <a:t> </a:t>
            </a:r>
            <a:fld id="{9C210727-429B-47FB-8233-FC5B221958B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Страница</a:t>
            </a:r>
            <a:r>
              <a:rPr lang="de-DE"/>
              <a:t> </a:t>
            </a:r>
            <a:r>
              <a:rPr lang="de-DE">
                <a:sym typeface="Wingdings" pitchFamily="2" charset="2"/>
              </a:rPr>
              <a:t></a:t>
            </a:r>
            <a:r>
              <a:rPr lang="de-DE"/>
              <a:t> </a:t>
            </a:r>
            <a:fld id="{06812B1B-4305-48FA-8729-6065BF93200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 smtClean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Страница</a:t>
            </a:r>
            <a:r>
              <a:rPr lang="de-DE"/>
              <a:t> </a:t>
            </a:r>
            <a:r>
              <a:rPr lang="de-DE">
                <a:sym typeface="Wingdings" pitchFamily="2" charset="2"/>
              </a:rPr>
              <a:t></a:t>
            </a:r>
            <a:r>
              <a:rPr lang="de-DE"/>
              <a:t> </a:t>
            </a:r>
            <a:fld id="{C3DDF54B-805E-4653-9F9E-4649306749A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Rectangle 5"/>
          <p:cNvSpPr>
            <a:spLocks noChangeArrowheads="1"/>
          </p:cNvSpPr>
          <p:nvPr/>
        </p:nvSpPr>
        <p:spPr bwMode="gray">
          <a:xfrm>
            <a:off x="2162175" y="6408738"/>
            <a:ext cx="47847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0"/>
              </a:spcBef>
              <a:buClrTx/>
              <a:buFontTx/>
              <a:buNone/>
              <a:defRPr/>
            </a:pPr>
            <a:r>
              <a:rPr lang="ru-RU" sz="1000">
                <a:latin typeface="Arial" pitchFamily="34" charset="0"/>
              </a:rPr>
              <a:t>Презентация группы «АЛТА»</a:t>
            </a:r>
            <a:r>
              <a:rPr lang="cs-CZ" sz="1000">
                <a:latin typeface="Arial" pitchFamily="34" charset="0"/>
              </a:rPr>
              <a:t> 201</a:t>
            </a:r>
            <a:r>
              <a:rPr lang="ru-RU" sz="1000">
                <a:latin typeface="Arial" pitchFamily="34" charset="0"/>
              </a:rPr>
              <a:t>2 г.</a:t>
            </a:r>
            <a:endParaRPr lang="en-US" sz="1000">
              <a:latin typeface="Arial" pitchFamily="34" charset="0"/>
            </a:endParaRPr>
          </a:p>
        </p:txBody>
      </p:sp>
      <p:sp>
        <p:nvSpPr>
          <p:cNvPr id="8195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314325" y="82550"/>
            <a:ext cx="8524875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as Titelformat zu bearbeiten</a:t>
            </a:r>
          </a:p>
        </p:txBody>
      </p:sp>
      <p:sp>
        <p:nvSpPr>
          <p:cNvPr id="11269" name="Rectangle 10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19075" y="6408738"/>
            <a:ext cx="13430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FontTx/>
              <a:buNone/>
              <a:defRPr sz="1000" b="1"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ru-RU"/>
              <a:t>Страница</a:t>
            </a:r>
            <a:r>
              <a:rPr lang="de-DE"/>
              <a:t> </a:t>
            </a:r>
            <a:r>
              <a:rPr lang="de-DE">
                <a:sym typeface="Wingdings" pitchFamily="2" charset="2"/>
              </a:rPr>
              <a:t></a:t>
            </a:r>
            <a:r>
              <a:rPr lang="de-DE"/>
              <a:t> </a:t>
            </a:r>
            <a:fld id="{218009B1-2669-4CED-94E8-58F0DF98C4E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8197" name="Rectangle 12"/>
          <p:cNvSpPr>
            <a:spLocks noGrp="1" noChangeArrowheads="1"/>
          </p:cNvSpPr>
          <p:nvPr>
            <p:ph type="body" idx="1"/>
          </p:nvPr>
        </p:nvSpPr>
        <p:spPr bwMode="gray">
          <a:xfrm>
            <a:off x="314325" y="1614488"/>
            <a:ext cx="8524875" cy="439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ie Formate des Vorlagentextes zu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pic>
        <p:nvPicPr>
          <p:cNvPr id="8198" name="Picture 33" descr="ALTA_logo_barevne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029575" y="6092825"/>
            <a:ext cx="809625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</p:sldLayoutIdLst>
  <p:transition spd="med">
    <p:fade/>
  </p:transition>
  <p:hf sldNum="0" hd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5pPr>
      <a:lvl6pPr marL="457200"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6pPr>
      <a:lvl7pPr marL="914400"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7pPr>
      <a:lvl8pPr marL="1371600"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8pPr>
      <a:lvl9pPr marL="1828800"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9pPr>
    </p:titleStyle>
    <p:bodyStyle>
      <a:lvl1pPr marL="190500" indent="-190500" algn="l" rtl="0" eaLnBrk="0" fontAlgn="base" hangingPunct="0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381000" indent="-188913" algn="l" rtl="0" eaLnBrk="0" fontAlgn="base" hangingPunct="0">
        <a:spcBef>
          <a:spcPct val="3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2pPr>
      <a:lvl3pPr marL="561975" indent="-179388" algn="l" rtl="0" eaLnBrk="0" fontAlgn="base" hangingPunct="0">
        <a:spcBef>
          <a:spcPct val="3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3pPr>
      <a:lvl4pPr marL="768350" indent="-204788" algn="l" rtl="0" eaLnBrk="0" fontAlgn="base" hangingPunct="0">
        <a:spcBef>
          <a:spcPct val="3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1050925" indent="-168275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»"/>
        <a:defRPr sz="2000">
          <a:solidFill>
            <a:schemeClr val="tx1"/>
          </a:solidFill>
          <a:latin typeface="+mn-lt"/>
        </a:defRPr>
      </a:lvl5pPr>
      <a:lvl6pPr marL="1508125" indent="-168275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»"/>
        <a:defRPr sz="2000">
          <a:solidFill>
            <a:schemeClr val="tx1"/>
          </a:solidFill>
          <a:latin typeface="+mn-lt"/>
        </a:defRPr>
      </a:lvl6pPr>
      <a:lvl7pPr marL="1965325" indent="-168275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»"/>
        <a:defRPr sz="2000">
          <a:solidFill>
            <a:schemeClr val="tx1"/>
          </a:solidFill>
          <a:latin typeface="+mn-lt"/>
        </a:defRPr>
      </a:lvl7pPr>
      <a:lvl8pPr marL="2422525" indent="-168275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»"/>
        <a:defRPr sz="2000">
          <a:solidFill>
            <a:schemeClr val="tx1"/>
          </a:solidFill>
          <a:latin typeface="+mn-lt"/>
        </a:defRPr>
      </a:lvl8pPr>
      <a:lvl9pPr marL="2879725" indent="-168275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jpeg"/><Relationship Id="rId4" Type="http://schemas.openxmlformats.org/officeDocument/2006/relationships/image" Target="../media/image20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alatek.cz/editor/image/fotogalerie3_obsah/tn_zoom_obrazek_726.jpg" TargetMode="External"/><Relationship Id="rId3" Type="http://schemas.openxmlformats.org/officeDocument/2006/relationships/image" Target="../media/image23.jpeg"/><Relationship Id="rId7" Type="http://schemas.openxmlformats.org/officeDocument/2006/relationships/image" Target="../media/image25.jpeg"/><Relationship Id="rId2" Type="http://schemas.openxmlformats.org/officeDocument/2006/relationships/hyperlink" Target="http://www.galatek.cz/editor/image/fotogalerie3_obsah/tn_zoom_obrazek_717.jpg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galatek.cz/editor/image/fotogalerie3_obsah/tn_zoom_obrazek_657.jpg" TargetMode="External"/><Relationship Id="rId5" Type="http://schemas.openxmlformats.org/officeDocument/2006/relationships/image" Target="../media/image24.jpeg"/><Relationship Id="rId10" Type="http://schemas.openxmlformats.org/officeDocument/2006/relationships/image" Target="../media/image13.jpeg"/><Relationship Id="rId4" Type="http://schemas.openxmlformats.org/officeDocument/2006/relationships/hyperlink" Target="http://www.galatek.cz/editor/image/fotogalerie3_obsah/tn_zoom_obrazek_746.jpg" TargetMode="External"/><Relationship Id="rId9" Type="http://schemas.openxmlformats.org/officeDocument/2006/relationships/image" Target="../media/image26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.pn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3.jpeg"/><Relationship Id="rId4" Type="http://schemas.openxmlformats.org/officeDocument/2006/relationships/image" Target="../media/image36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38.png"/><Relationship Id="rId12" Type="http://schemas.openxmlformats.org/officeDocument/2006/relationships/image" Target="../media/image13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8.xml"/><Relationship Id="rId6" Type="http://schemas.openxmlformats.org/officeDocument/2006/relationships/image" Target="../media/image2.png"/><Relationship Id="rId11" Type="http://schemas.openxmlformats.org/officeDocument/2006/relationships/image" Target="../media/image42.png"/><Relationship Id="rId5" Type="http://schemas.openxmlformats.org/officeDocument/2006/relationships/image" Target="../media/image37.png"/><Relationship Id="rId10" Type="http://schemas.openxmlformats.org/officeDocument/2006/relationships/image" Target="../media/image41.png"/><Relationship Id="rId4" Type="http://schemas.openxmlformats.org/officeDocument/2006/relationships/image" Target="../media/image3.png"/><Relationship Id="rId9" Type="http://schemas.openxmlformats.org/officeDocument/2006/relationships/image" Target="../media/image4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5" Type="http://schemas.openxmlformats.org/officeDocument/2006/relationships/image" Target="../media/image2.png"/><Relationship Id="rId4" Type="http://schemas.openxmlformats.org/officeDocument/2006/relationships/image" Target="../media/image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6" Type="http://schemas.openxmlformats.org/officeDocument/2006/relationships/image" Target="../media/image8.jpeg"/><Relationship Id="rId5" Type="http://schemas.openxmlformats.org/officeDocument/2006/relationships/image" Target="../media/image2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6" Type="http://schemas.openxmlformats.org/officeDocument/2006/relationships/image" Target="../media/image2.png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5" Type="http://schemas.openxmlformats.org/officeDocument/2006/relationships/image" Target="../media/image2.png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82600" y="909638"/>
            <a:ext cx="3933825" cy="1724025"/>
          </a:xfrm>
        </p:spPr>
        <p:txBody>
          <a:bodyPr/>
          <a:lstStyle/>
          <a:p>
            <a:r>
              <a:rPr lang="ru-RU" sz="4300" smtClean="0"/>
              <a:t>Презентация</a:t>
            </a:r>
            <a:br>
              <a:rPr lang="ru-RU" sz="4300" smtClean="0"/>
            </a:br>
            <a:r>
              <a:rPr lang="ru-RU" sz="3600" smtClean="0"/>
              <a:t>группы «АЛТА»</a:t>
            </a:r>
            <a:endParaRPr lang="ru-RU" sz="3600" noProof="1" smtClean="0"/>
          </a:p>
        </p:txBody>
      </p:sp>
      <p:pic>
        <p:nvPicPr>
          <p:cNvPr id="3" name="Picture 23" descr="ALTA_logo_barevn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88416" y="3818509"/>
            <a:ext cx="4555584" cy="3039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67544" y="260648"/>
            <a:ext cx="8229600" cy="1143000"/>
          </a:xfrm>
        </p:spPr>
        <p:txBody>
          <a:bodyPr/>
          <a:lstStyle/>
          <a:p>
            <a:pPr algn="ctr"/>
            <a:r>
              <a:rPr lang="ru-RU" sz="3200" b="1" dirty="0" smtClean="0"/>
              <a:t>Гальванические линии</a:t>
            </a:r>
            <a:endParaRPr lang="ru-RU" sz="32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2800" dirty="0" smtClean="0"/>
              <a:t>Представляем в России Чешскую компанию </a:t>
            </a:r>
            <a:r>
              <a:rPr lang="cs-CZ" sz="2800" dirty="0" smtClean="0"/>
              <a:t>EKOMOR</a:t>
            </a:r>
          </a:p>
          <a:p>
            <a:pPr hangingPunct="1">
              <a:lnSpc>
                <a:spcPct val="110000"/>
              </a:lnSpc>
              <a:spcBef>
                <a:spcPts val="700"/>
              </a:spcBef>
              <a:buFontTx/>
              <a:buChar char="-"/>
            </a:pP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Линии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 </a:t>
            </a:r>
            <a:r>
              <a:rPr lang="en-US" altLang="ru-RU" sz="1800" b="1" dirty="0" err="1">
                <a:latin typeface="Arial" charset="0"/>
                <a:cs typeface="Arial Unicode MS" charset="0"/>
              </a:rPr>
              <a:t>для</a:t>
            </a:r>
            <a:r>
              <a:rPr lang="en-US" altLang="ru-RU" sz="1800" b="1" dirty="0">
                <a:latin typeface="Arial" charset="0"/>
                <a:cs typeface="Arial Unicode MS" charset="0"/>
              </a:rPr>
              <a:t> </a:t>
            </a:r>
            <a:r>
              <a:rPr lang="en-US" altLang="ru-RU" sz="1800" b="1" dirty="0" err="1">
                <a:latin typeface="Arial" charset="0"/>
                <a:cs typeface="Arial Unicode MS" charset="0"/>
              </a:rPr>
              <a:t>оцинковки</a:t>
            </a:r>
            <a:r>
              <a:rPr lang="en-US" altLang="ru-RU" sz="1800" b="1" dirty="0">
                <a:latin typeface="Arial" charset="0"/>
                <a:cs typeface="Arial Unicode MS" charset="0"/>
              </a:rPr>
              <a:t>, </a:t>
            </a:r>
            <a:endParaRPr lang="ru-RU" altLang="ru-RU" sz="1800" b="1" dirty="0" smtClean="0">
              <a:latin typeface="Arial" charset="0"/>
              <a:cs typeface="Arial Unicode MS" charset="0"/>
            </a:endParaRPr>
          </a:p>
          <a:p>
            <a:pPr hangingPunct="1">
              <a:lnSpc>
                <a:spcPct val="110000"/>
              </a:lnSpc>
              <a:spcBef>
                <a:spcPts val="700"/>
              </a:spcBef>
              <a:buFontTx/>
              <a:buChar char="-"/>
            </a:pP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хромирования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 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и</a:t>
            </a:r>
            <a:r>
              <a:rPr lang="ru-RU" altLang="ru-RU" sz="1800" b="1" dirty="0" smtClean="0">
                <a:latin typeface="Arial" charset="0"/>
                <a:cs typeface="Arial Unicode MS" charset="0"/>
              </a:rPr>
              <a:t> 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т</a:t>
            </a:r>
            <a:r>
              <a:rPr lang="ru-RU" altLang="ru-RU" sz="1800" b="1" dirty="0" smtClean="0">
                <a:latin typeface="Arial" charset="0"/>
                <a:cs typeface="Arial Unicode MS" charset="0"/>
              </a:rPr>
              <a:t>.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д</a:t>
            </a:r>
            <a:r>
              <a:rPr lang="en-US" altLang="ru-RU" sz="1800" b="1" dirty="0">
                <a:latin typeface="Arial" charset="0"/>
                <a:cs typeface="Arial Unicode MS" charset="0"/>
              </a:rPr>
              <a:t>. </a:t>
            </a:r>
            <a:endParaRPr lang="ru-RU" altLang="ru-RU" sz="1800" b="1" dirty="0" smtClean="0">
              <a:latin typeface="Arial" charset="0"/>
              <a:cs typeface="Arial Unicode MS" charset="0"/>
            </a:endParaRPr>
          </a:p>
          <a:p>
            <a:pPr hangingPunct="1">
              <a:lnSpc>
                <a:spcPct val="110000"/>
              </a:lnSpc>
              <a:spcBef>
                <a:spcPts val="700"/>
              </a:spcBef>
              <a:buFontTx/>
              <a:buChar char="-"/>
            </a:pP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нанесения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 </a:t>
            </a:r>
            <a:r>
              <a:rPr lang="en-US" altLang="ru-RU" sz="1800" b="1" dirty="0" err="1">
                <a:latin typeface="Arial" charset="0"/>
                <a:cs typeface="Arial Unicode MS" charset="0"/>
              </a:rPr>
              <a:t>сплавного</a:t>
            </a:r>
            <a:r>
              <a:rPr lang="en-US" altLang="ru-RU" sz="1800" b="1" dirty="0">
                <a:latin typeface="Arial" charset="0"/>
                <a:cs typeface="Arial Unicode MS" charset="0"/>
              </a:rPr>
              <a:t> </a:t>
            </a:r>
            <a:r>
              <a:rPr lang="en-US" altLang="ru-RU" sz="1800" b="1" dirty="0" err="1">
                <a:latin typeface="Arial" charset="0"/>
                <a:cs typeface="Arial Unicode MS" charset="0"/>
              </a:rPr>
              <a:t>покрытия</a:t>
            </a:r>
            <a:r>
              <a:rPr lang="en-US" altLang="ru-RU" sz="1800" b="1" dirty="0">
                <a:latin typeface="Arial" charset="0"/>
                <a:cs typeface="Arial Unicode MS" charset="0"/>
              </a:rPr>
              <a:t> </a:t>
            </a:r>
          </a:p>
          <a:p>
            <a:pPr hangingPunct="1">
              <a:lnSpc>
                <a:spcPct val="110000"/>
              </a:lnSpc>
              <a:spcBef>
                <a:spcPts val="700"/>
              </a:spcBef>
              <a:buFontTx/>
              <a:buChar char="-"/>
            </a:pP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линии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 </a:t>
            </a:r>
            <a:r>
              <a:rPr lang="en-US" altLang="ru-RU" sz="1800" b="1" dirty="0" err="1">
                <a:latin typeface="Arial" charset="0"/>
                <a:cs typeface="Arial Unicode MS" charset="0"/>
              </a:rPr>
              <a:t>фосфатирования</a:t>
            </a:r>
            <a:endParaRPr lang="en-US" altLang="ru-RU" sz="1800" b="1" dirty="0">
              <a:latin typeface="Arial" charset="0"/>
              <a:cs typeface="Arial Unicode MS" charset="0"/>
            </a:endParaRPr>
          </a:p>
          <a:p>
            <a:pPr hangingPunct="1">
              <a:lnSpc>
                <a:spcPct val="110000"/>
              </a:lnSpc>
              <a:spcBef>
                <a:spcPts val="700"/>
              </a:spcBef>
              <a:buClrTx/>
              <a:buFontTx/>
              <a:buChar char="-"/>
            </a:pP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смазочные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 </a:t>
            </a:r>
            <a:r>
              <a:rPr lang="en-US" altLang="ru-RU" sz="1800" b="1" dirty="0" err="1">
                <a:latin typeface="Arial" charset="0"/>
                <a:cs typeface="Arial Unicode MS" charset="0"/>
              </a:rPr>
              <a:t>линии</a:t>
            </a:r>
            <a:r>
              <a:rPr lang="en-US" altLang="ru-RU" sz="1800" b="1" dirty="0">
                <a:latin typeface="Arial" charset="0"/>
                <a:cs typeface="Arial Unicode MS" charset="0"/>
              </a:rPr>
              <a:t>, </a:t>
            </a:r>
            <a:endParaRPr lang="cs-CZ" altLang="ru-RU" sz="1800" b="1" dirty="0" smtClean="0">
              <a:latin typeface="Arial" charset="0"/>
              <a:cs typeface="Arial Unicode MS" charset="0"/>
            </a:endParaRPr>
          </a:p>
          <a:p>
            <a:pPr hangingPunct="1">
              <a:lnSpc>
                <a:spcPct val="110000"/>
              </a:lnSpc>
              <a:spcBef>
                <a:spcPts val="700"/>
              </a:spcBef>
              <a:buClrTx/>
              <a:buFontTx/>
              <a:buChar char="-"/>
            </a:pP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линии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 </a:t>
            </a:r>
            <a:r>
              <a:rPr lang="en-US" altLang="ru-RU" sz="1800" b="1" dirty="0" err="1">
                <a:latin typeface="Arial" charset="0"/>
                <a:cs typeface="Arial Unicode MS" charset="0"/>
              </a:rPr>
              <a:t>для</a:t>
            </a:r>
            <a:r>
              <a:rPr lang="en-US" altLang="ru-RU" sz="1800" b="1" dirty="0">
                <a:latin typeface="Arial" charset="0"/>
                <a:cs typeface="Arial Unicode MS" charset="0"/>
              </a:rPr>
              <a:t> </a:t>
            </a:r>
            <a:r>
              <a:rPr lang="en-US" altLang="ru-RU" sz="1800" b="1" dirty="0" err="1">
                <a:latin typeface="Arial" charset="0"/>
                <a:cs typeface="Arial Unicode MS" charset="0"/>
              </a:rPr>
              <a:t>нанесения</a:t>
            </a:r>
            <a:r>
              <a:rPr lang="en-US" altLang="ru-RU" sz="1800" b="1" dirty="0">
                <a:latin typeface="Arial" charset="0"/>
                <a:cs typeface="Arial Unicode MS" charset="0"/>
              </a:rPr>
              <a:t> </a:t>
            </a:r>
            <a:r>
              <a:rPr lang="en-US" altLang="ru-RU" sz="1800" b="1" dirty="0" err="1">
                <a:latin typeface="Arial" charset="0"/>
                <a:cs typeface="Arial Unicode MS" charset="0"/>
              </a:rPr>
              <a:t>буры</a:t>
            </a:r>
            <a:endParaRPr lang="en-US" altLang="ru-RU" sz="1800" b="1" dirty="0">
              <a:latin typeface="Arial" charset="0"/>
              <a:cs typeface="Arial Unicode MS" charset="0"/>
            </a:endParaRPr>
          </a:p>
          <a:p>
            <a:pPr hangingPunct="1">
              <a:lnSpc>
                <a:spcPct val="110000"/>
              </a:lnSpc>
              <a:spcBef>
                <a:spcPts val="700"/>
              </a:spcBef>
              <a:buClrTx/>
              <a:buFontTx/>
              <a:buChar char="-"/>
            </a:pP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линии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 </a:t>
            </a:r>
            <a:r>
              <a:rPr lang="en-US" altLang="ru-RU" sz="1800" b="1" dirty="0" err="1">
                <a:latin typeface="Arial" charset="0"/>
                <a:cs typeface="Arial Unicode MS" charset="0"/>
              </a:rPr>
              <a:t>обезжириванния</a:t>
            </a:r>
            <a:r>
              <a:rPr lang="en-US" altLang="ru-RU" sz="1800" b="1" dirty="0">
                <a:latin typeface="Arial" charset="0"/>
                <a:cs typeface="Arial Unicode MS" charset="0"/>
              </a:rPr>
              <a:t> и </a:t>
            </a: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пассивации</a:t>
            </a:r>
            <a:endParaRPr lang="cs-CZ" altLang="ru-RU" sz="1800" b="1" dirty="0" smtClean="0">
              <a:latin typeface="Arial" charset="0"/>
              <a:cs typeface="Arial Unicode MS" charset="0"/>
            </a:endParaRPr>
          </a:p>
          <a:p>
            <a:pPr hangingPunct="1">
              <a:lnSpc>
                <a:spcPct val="110000"/>
              </a:lnSpc>
              <a:spcBef>
                <a:spcPts val="700"/>
              </a:spcBef>
              <a:buClrTx/>
              <a:buFontTx/>
              <a:buChar char="-"/>
            </a:pPr>
            <a:r>
              <a:rPr lang="ru-RU" altLang="ru-RU" sz="1800" b="1" dirty="0">
                <a:latin typeface="Arial" charset="0"/>
                <a:cs typeface="Arial Unicode MS" charset="0"/>
              </a:rPr>
              <a:t>о</a:t>
            </a:r>
            <a:r>
              <a:rPr lang="ru-RU" altLang="ru-RU" sz="1800" b="1" dirty="0" smtClean="0">
                <a:latin typeface="Arial" charset="0"/>
                <a:cs typeface="Arial Unicode MS" charset="0"/>
              </a:rPr>
              <a:t>стальные линии гальванопокрытия</a:t>
            </a:r>
            <a:endParaRPr lang="cs-CZ" altLang="ru-RU" sz="1800" b="1" dirty="0" smtClean="0">
              <a:latin typeface="Arial" charset="0"/>
              <a:cs typeface="Arial Unicode MS" charset="0"/>
            </a:endParaRPr>
          </a:p>
          <a:p>
            <a:pPr hangingPunct="1">
              <a:lnSpc>
                <a:spcPct val="110000"/>
              </a:lnSpc>
              <a:spcBef>
                <a:spcPts val="700"/>
              </a:spcBef>
              <a:buClrTx/>
              <a:buFontTx/>
              <a:buChar char="-"/>
            </a:pPr>
            <a:endParaRPr lang="en-US" altLang="ru-RU" sz="1800" b="1" dirty="0">
              <a:latin typeface="Arial" charset="0"/>
              <a:cs typeface="Arial Unicode MS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ru-RU" sz="1800" dirty="0" smtClean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154E22D-41F5-40BB-A603-B3F8DAC573FF}" type="slidenum">
              <a:rPr lang="cs-CZ" smtClean="0"/>
              <a:pPr>
                <a:defRPr/>
              </a:pPr>
              <a:t>10</a:t>
            </a:fld>
            <a:endParaRPr lang="cs-CZ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2" y="2044824"/>
            <a:ext cx="3672068" cy="3024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" name="Picture 2" descr="D:\ALTA RUS\L O G O\oficial logo ALTA RUS\ALTA_RUS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47111" y="6068875"/>
            <a:ext cx="1174750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9815062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ru-RU" sz="3200" b="1" dirty="0" err="1"/>
              <a:t>Линии</a:t>
            </a:r>
            <a:r>
              <a:rPr lang="en-US" altLang="ru-RU" sz="3200" b="1" dirty="0"/>
              <a:t> </a:t>
            </a:r>
            <a:r>
              <a:rPr lang="en-US" altLang="ru-RU" sz="3200" b="1" dirty="0" err="1" smtClean="0"/>
              <a:t>галваническ</a:t>
            </a:r>
            <a:r>
              <a:rPr lang="ru-RU" altLang="ru-RU" sz="3200" b="1" dirty="0" smtClean="0"/>
              <a:t>их покрытий</a:t>
            </a:r>
            <a:endParaRPr lang="ru-RU" sz="3200" b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154E22D-41F5-40BB-A603-B3F8DAC573FF}" type="slidenum">
              <a:rPr lang="cs-CZ" smtClean="0"/>
              <a:pPr>
                <a:defRPr/>
              </a:pPr>
              <a:t>11</a:t>
            </a:fld>
            <a:endParaRPr lang="cs-CZ"/>
          </a:p>
        </p:txBody>
      </p:sp>
      <p:pic>
        <p:nvPicPr>
          <p:cNvPr id="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412777"/>
            <a:ext cx="4708697" cy="3384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3993" y="2420888"/>
            <a:ext cx="4514763" cy="3384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527929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b="1" dirty="0">
                <a:cs typeface="Arial" charset="0"/>
              </a:rPr>
              <a:t>Линии </a:t>
            </a:r>
            <a:r>
              <a:rPr lang="ru-RU" sz="3200" b="1" dirty="0" smtClean="0">
                <a:cs typeface="Arial" charset="0"/>
              </a:rPr>
              <a:t>травления</a:t>
            </a:r>
            <a:endParaRPr lang="ru-RU" sz="3200" b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154E22D-41F5-40BB-A603-B3F8DAC573FF}" type="slidenum">
              <a:rPr lang="cs-CZ" smtClean="0"/>
              <a:pPr>
                <a:defRPr/>
              </a:pPr>
              <a:t>12</a:t>
            </a:fld>
            <a:endParaRPr lang="cs-CZ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0973" y="1268760"/>
            <a:ext cx="4593088" cy="37828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8" name="Zástupný symbol pro obsah 7"/>
          <p:cNvSpPr>
            <a:spLocks noGrp="1"/>
          </p:cNvSpPr>
          <p:nvPr>
            <p:ph idx="1"/>
          </p:nvPr>
        </p:nvSpPr>
        <p:spPr>
          <a:xfrm>
            <a:off x="314325" y="817319"/>
            <a:ext cx="8524875" cy="4391025"/>
          </a:xfrm>
        </p:spPr>
        <p:txBody>
          <a:bodyPr/>
          <a:lstStyle/>
          <a:p>
            <a:pPr hangingPunct="1">
              <a:lnSpc>
                <a:spcPct val="110000"/>
              </a:lnSpc>
              <a:spcBef>
                <a:spcPts val="700"/>
              </a:spcBef>
              <a:buClrTx/>
              <a:buFontTx/>
              <a:buNone/>
            </a:pPr>
            <a:r>
              <a:rPr lang="en-US" altLang="ru-RU" sz="1600" b="1" dirty="0" err="1" smtClean="0">
                <a:latin typeface="Arial" charset="0"/>
                <a:cs typeface="Arial Unicode MS" charset="0"/>
              </a:rPr>
              <a:t>штучн</a:t>
            </a:r>
            <a:r>
              <a:rPr lang="ru-RU" altLang="ru-RU" sz="1600" b="1" dirty="0" smtClean="0">
                <a:latin typeface="Arial" charset="0"/>
                <a:cs typeface="Arial Unicode MS" charset="0"/>
              </a:rPr>
              <a:t>ы</a:t>
            </a:r>
            <a:r>
              <a:rPr lang="en-US" altLang="ru-RU" sz="1600" b="1" dirty="0" smtClean="0">
                <a:latin typeface="Arial" charset="0"/>
                <a:cs typeface="Arial Unicode MS" charset="0"/>
              </a:rPr>
              <a:t>й </a:t>
            </a:r>
            <a:r>
              <a:rPr lang="en-US" altLang="ru-RU" sz="1600" b="1" dirty="0" err="1">
                <a:latin typeface="Arial" charset="0"/>
                <a:cs typeface="Arial Unicode MS" charset="0"/>
              </a:rPr>
              <a:t>или</a:t>
            </a:r>
            <a:r>
              <a:rPr lang="en-US" altLang="ru-RU" sz="1600" b="1" dirty="0">
                <a:latin typeface="Arial" charset="0"/>
                <a:cs typeface="Arial Unicode MS" charset="0"/>
              </a:rPr>
              <a:t> </a:t>
            </a:r>
            <a:r>
              <a:rPr lang="en-US" altLang="ru-RU" sz="1600" b="1" dirty="0" err="1">
                <a:latin typeface="Arial" charset="0"/>
                <a:cs typeface="Arial Unicode MS" charset="0"/>
              </a:rPr>
              <a:t>непрерывной</a:t>
            </a:r>
            <a:r>
              <a:rPr lang="en-US" altLang="ru-RU" sz="1600" b="1" dirty="0">
                <a:latin typeface="Arial" charset="0"/>
                <a:cs typeface="Arial Unicode MS" charset="0"/>
              </a:rPr>
              <a:t> </a:t>
            </a:r>
            <a:r>
              <a:rPr lang="en-US" altLang="ru-RU" sz="1600" b="1" dirty="0" err="1">
                <a:latin typeface="Arial" charset="0"/>
                <a:cs typeface="Arial Unicode MS" charset="0"/>
              </a:rPr>
              <a:t>процесс</a:t>
            </a:r>
            <a:endParaRPr lang="en-US" altLang="ru-RU" sz="1600" b="1" dirty="0">
              <a:latin typeface="Arial" charset="0"/>
              <a:cs typeface="Arial Unicode MS" charset="0"/>
            </a:endParaRPr>
          </a:p>
          <a:p>
            <a:pPr>
              <a:lnSpc>
                <a:spcPct val="150000"/>
              </a:lnSpc>
              <a:buClrTx/>
              <a:buFont typeface="Wingdings" panose="05000000000000000000" pitchFamily="2" charset="2"/>
              <a:buChar char="§"/>
            </a:pPr>
            <a:r>
              <a:rPr lang="en-US" altLang="ru-RU" sz="1600" b="1" dirty="0" err="1" smtClean="0">
                <a:latin typeface="Arial" charset="0"/>
                <a:cs typeface="Arial Unicode MS" charset="0"/>
              </a:rPr>
              <a:t>провол</a:t>
            </a:r>
            <a:r>
              <a:rPr lang="ru-RU" altLang="ru-RU" sz="1600" b="1" dirty="0" smtClean="0">
                <a:latin typeface="Arial" charset="0"/>
                <a:cs typeface="Arial Unicode MS" charset="0"/>
              </a:rPr>
              <a:t>о</a:t>
            </a:r>
            <a:r>
              <a:rPr lang="en-US" altLang="ru-RU" sz="1600" b="1" dirty="0" err="1" smtClean="0">
                <a:latin typeface="Arial" charset="0"/>
                <a:cs typeface="Arial Unicode MS" charset="0"/>
              </a:rPr>
              <a:t>ка</a:t>
            </a:r>
            <a:r>
              <a:rPr lang="en-US" altLang="ru-RU" sz="1600" b="1" dirty="0">
                <a:latin typeface="Arial" charset="0"/>
                <a:cs typeface="Arial Unicode MS" charset="0"/>
              </a:rPr>
              <a:t>, </a:t>
            </a:r>
            <a:r>
              <a:rPr lang="en-US" altLang="ru-RU" sz="1600" b="1" dirty="0" err="1">
                <a:latin typeface="Arial" charset="0"/>
                <a:cs typeface="Arial Unicode MS" charset="0"/>
              </a:rPr>
              <a:t>трубы</a:t>
            </a:r>
            <a:r>
              <a:rPr lang="en-US" altLang="ru-RU" sz="1600" b="1" dirty="0">
                <a:latin typeface="Arial" charset="0"/>
                <a:cs typeface="Arial Unicode MS" charset="0"/>
              </a:rPr>
              <a:t>, </a:t>
            </a:r>
            <a:r>
              <a:rPr lang="en-US" altLang="ru-RU" sz="1600" b="1" dirty="0" err="1">
                <a:latin typeface="Arial" charset="0"/>
                <a:cs typeface="Arial Unicode MS" charset="0"/>
              </a:rPr>
              <a:t>прутки</a:t>
            </a:r>
            <a:r>
              <a:rPr lang="en-US" altLang="ru-RU" sz="1600" b="1" dirty="0">
                <a:latin typeface="Arial" charset="0"/>
                <a:cs typeface="Arial Unicode MS" charset="0"/>
              </a:rPr>
              <a:t>, </a:t>
            </a:r>
            <a:endParaRPr lang="ru-RU" altLang="ru-RU" sz="1600" b="1" dirty="0" smtClean="0">
              <a:latin typeface="Arial" charset="0"/>
              <a:cs typeface="Arial Unicode MS" charset="0"/>
            </a:endParaRPr>
          </a:p>
          <a:p>
            <a:pPr>
              <a:lnSpc>
                <a:spcPct val="150000"/>
              </a:lnSpc>
              <a:buClrTx/>
              <a:buFont typeface="Wingdings" panose="05000000000000000000" pitchFamily="2" charset="2"/>
              <a:buChar char="§"/>
            </a:pPr>
            <a:r>
              <a:rPr lang="en-US" altLang="ru-RU" sz="1600" b="1" dirty="0" err="1" smtClean="0">
                <a:latin typeface="Arial" charset="0"/>
                <a:cs typeface="Arial Unicode MS" charset="0"/>
              </a:rPr>
              <a:t>лента</a:t>
            </a:r>
            <a:r>
              <a:rPr lang="en-US" altLang="ru-RU" sz="1600" b="1" dirty="0">
                <a:latin typeface="Arial" charset="0"/>
                <a:cs typeface="Arial Unicode MS" charset="0"/>
              </a:rPr>
              <a:t>, </a:t>
            </a:r>
            <a:r>
              <a:rPr lang="en-US" altLang="ru-RU" sz="1600" b="1" dirty="0" err="1" smtClean="0">
                <a:latin typeface="Arial" charset="0"/>
                <a:cs typeface="Arial Unicode MS" charset="0"/>
              </a:rPr>
              <a:t>лист</a:t>
            </a:r>
            <a:r>
              <a:rPr lang="en-US" altLang="ru-RU" sz="1600" b="1" dirty="0" smtClean="0">
                <a:latin typeface="Arial" charset="0"/>
                <a:cs typeface="Arial Unicode MS" charset="0"/>
              </a:rPr>
              <a:t> и</a:t>
            </a:r>
            <a:r>
              <a:rPr lang="ru-RU" altLang="ru-RU" sz="1600" b="1" dirty="0" smtClean="0">
                <a:latin typeface="Arial" charset="0"/>
                <a:cs typeface="Arial Unicode MS" charset="0"/>
              </a:rPr>
              <a:t> </a:t>
            </a:r>
            <a:r>
              <a:rPr lang="en-US" altLang="ru-RU" sz="1600" b="1" dirty="0" smtClean="0">
                <a:latin typeface="Arial" charset="0"/>
                <a:cs typeface="Arial Unicode MS" charset="0"/>
              </a:rPr>
              <a:t>т</a:t>
            </a:r>
            <a:r>
              <a:rPr lang="ru-RU" altLang="ru-RU" sz="1600" b="1" dirty="0" smtClean="0">
                <a:latin typeface="Arial" charset="0"/>
                <a:cs typeface="Arial Unicode MS" charset="0"/>
              </a:rPr>
              <a:t>.</a:t>
            </a:r>
            <a:r>
              <a:rPr lang="en-US" altLang="ru-RU" sz="1600" b="1" dirty="0" smtClean="0">
                <a:latin typeface="Arial" charset="0"/>
                <a:cs typeface="Arial Unicode MS" charset="0"/>
              </a:rPr>
              <a:t>д</a:t>
            </a:r>
            <a:r>
              <a:rPr lang="en-US" altLang="ru-RU" sz="1600" b="1" dirty="0" smtClean="0">
                <a:latin typeface="Arial" charset="0"/>
                <a:cs typeface="Arial Unicode MS" charset="0"/>
              </a:rPr>
              <a:t>.</a:t>
            </a:r>
            <a:endParaRPr lang="ru-RU" altLang="ru-RU" sz="1600" b="1" dirty="0" smtClean="0">
              <a:latin typeface="Arial" charset="0"/>
              <a:cs typeface="Arial Unicode MS" charset="0"/>
            </a:endParaRP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ru-RU" sz="1600" b="1" dirty="0" err="1" smtClean="0">
                <a:latin typeface="Arial" charset="0"/>
                <a:cs typeface="Arial Unicode MS" charset="0"/>
              </a:rPr>
              <a:t>углеродистая</a:t>
            </a:r>
            <a:r>
              <a:rPr lang="en-US" altLang="ru-RU" sz="1600" b="1" dirty="0" smtClean="0">
                <a:latin typeface="Arial" charset="0"/>
                <a:cs typeface="Arial Unicode MS" charset="0"/>
              </a:rPr>
              <a:t> </a:t>
            </a:r>
            <a:r>
              <a:rPr lang="en-US" altLang="ru-RU" sz="1600" b="1" dirty="0">
                <a:latin typeface="Arial" charset="0"/>
                <a:cs typeface="Arial Unicode MS" charset="0"/>
              </a:rPr>
              <a:t>и </a:t>
            </a:r>
            <a:r>
              <a:rPr lang="en-US" altLang="ru-RU" sz="1600" b="1" dirty="0" err="1">
                <a:latin typeface="Arial" charset="0"/>
                <a:cs typeface="Arial Unicode MS" charset="0"/>
              </a:rPr>
              <a:t>нержавеющая</a:t>
            </a:r>
            <a:r>
              <a:rPr lang="en-US" altLang="ru-RU" sz="1600" b="1" dirty="0">
                <a:latin typeface="Arial" charset="0"/>
                <a:cs typeface="Arial Unicode MS" charset="0"/>
              </a:rPr>
              <a:t> </a:t>
            </a:r>
            <a:endParaRPr lang="ru-RU" altLang="ru-RU" sz="1600" b="1" dirty="0" smtClean="0">
              <a:latin typeface="Arial" charset="0"/>
              <a:cs typeface="Arial Unicode MS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ru-RU" altLang="ru-RU" sz="1600" b="1" dirty="0" smtClean="0">
                <a:latin typeface="Arial" charset="0"/>
                <a:cs typeface="Arial Unicode MS" charset="0"/>
              </a:rPr>
              <a:t>   </a:t>
            </a:r>
            <a:r>
              <a:rPr lang="en-US" altLang="ru-RU" sz="1600" b="1" dirty="0" err="1" smtClean="0">
                <a:latin typeface="Arial" charset="0"/>
                <a:cs typeface="Arial Unicode MS" charset="0"/>
              </a:rPr>
              <a:t>сталь</a:t>
            </a:r>
            <a:r>
              <a:rPr lang="en-US" altLang="ru-RU" sz="1600" b="1" dirty="0">
                <a:latin typeface="Arial" charset="0"/>
                <a:cs typeface="Arial Unicode MS" charset="0"/>
              </a:rPr>
              <a:t>, </a:t>
            </a:r>
            <a:r>
              <a:rPr lang="en-US" altLang="ru-RU" sz="1600" b="1" dirty="0" err="1">
                <a:latin typeface="Arial" charset="0"/>
                <a:cs typeface="Arial Unicode MS" charset="0"/>
              </a:rPr>
              <a:t>другие</a:t>
            </a:r>
            <a:r>
              <a:rPr lang="en-US" altLang="ru-RU" sz="1600" b="1" dirty="0">
                <a:latin typeface="Arial" charset="0"/>
                <a:cs typeface="Arial Unicode MS" charset="0"/>
              </a:rPr>
              <a:t> </a:t>
            </a:r>
            <a:r>
              <a:rPr lang="en-US" altLang="ru-RU" sz="1600" b="1" dirty="0" err="1">
                <a:latin typeface="Arial" charset="0"/>
                <a:cs typeface="Arial Unicode MS" charset="0"/>
              </a:rPr>
              <a:t>сплавы</a:t>
            </a:r>
            <a:endParaRPr lang="en-US" altLang="ru-RU" sz="1600" b="1" dirty="0">
              <a:latin typeface="Arial" charset="0"/>
              <a:cs typeface="Arial Unicode MS" charset="0"/>
            </a:endParaRPr>
          </a:p>
          <a:p>
            <a:pPr>
              <a:lnSpc>
                <a:spcPct val="150000"/>
              </a:lnSpc>
              <a:buClrTx/>
              <a:buFont typeface="Wingdings" panose="05000000000000000000" pitchFamily="2" charset="2"/>
              <a:buChar char="§"/>
            </a:pPr>
            <a:endParaRPr lang="en-US" altLang="ru-RU" sz="1600" b="1" dirty="0">
              <a:latin typeface="Arial" charset="0"/>
              <a:cs typeface="Arial Unicode MS" charset="0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3619032"/>
            <a:ext cx="3599830" cy="27694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0" name="Picture 2" descr="D:\ALTA RUS\L O G O\oficial logo ALTA RUS\ALTA_RUS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47111" y="6068875"/>
            <a:ext cx="1174750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40897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ru-RU" sz="2800" b="1" dirty="0" err="1">
                <a:latin typeface="Arial" charset="0"/>
              </a:rPr>
              <a:t>Системы</a:t>
            </a:r>
            <a:r>
              <a:rPr lang="en-US" altLang="ru-RU" sz="2800" b="1" dirty="0">
                <a:latin typeface="Arial" charset="0"/>
              </a:rPr>
              <a:t> </a:t>
            </a:r>
            <a:r>
              <a:rPr lang="en-US" altLang="ru-RU" sz="2800" b="1" dirty="0" err="1">
                <a:latin typeface="Arial" charset="0"/>
              </a:rPr>
              <a:t>для</a:t>
            </a:r>
            <a:r>
              <a:rPr lang="en-US" altLang="ru-RU" sz="2800" b="1" dirty="0">
                <a:latin typeface="Arial" charset="0"/>
              </a:rPr>
              <a:t> </a:t>
            </a:r>
            <a:r>
              <a:rPr lang="en-US" altLang="ru-RU" sz="2800" b="1" dirty="0" err="1">
                <a:latin typeface="Arial" charset="0"/>
              </a:rPr>
              <a:t>очистки</a:t>
            </a:r>
            <a:r>
              <a:rPr lang="en-US" altLang="ru-RU" sz="2800" b="1" dirty="0">
                <a:latin typeface="Arial" charset="0"/>
              </a:rPr>
              <a:t> </a:t>
            </a:r>
            <a:r>
              <a:rPr lang="en-US" altLang="ru-RU" sz="2800" b="1" dirty="0" err="1">
                <a:latin typeface="Arial" charset="0"/>
              </a:rPr>
              <a:t>вод</a:t>
            </a:r>
            <a:r>
              <a:rPr lang="en-US" altLang="ru-RU" sz="2800" b="1" dirty="0">
                <a:latin typeface="Arial" charset="0"/>
              </a:rPr>
              <a:t> , </a:t>
            </a:r>
            <a:r>
              <a:rPr lang="en-US" altLang="ru-RU" sz="2800" b="1" dirty="0" err="1">
                <a:latin typeface="Arial" charset="0"/>
              </a:rPr>
              <a:t>регенерация</a:t>
            </a:r>
            <a:r>
              <a:rPr lang="en-US" altLang="ru-RU" sz="2800" b="1" dirty="0">
                <a:latin typeface="Arial" charset="0"/>
              </a:rPr>
              <a:t> </a:t>
            </a:r>
            <a:r>
              <a:rPr lang="en-US" altLang="ru-RU" sz="2800" b="1" dirty="0" err="1" smtClean="0">
                <a:latin typeface="Arial" charset="0"/>
              </a:rPr>
              <a:t>кислот</a:t>
            </a:r>
            <a:endParaRPr lang="ru-RU" sz="28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hangingPunct="1">
              <a:lnSpc>
                <a:spcPct val="110000"/>
              </a:lnSpc>
              <a:spcBef>
                <a:spcPts val="700"/>
              </a:spcBef>
              <a:buClrTx/>
              <a:buFontTx/>
              <a:buNone/>
            </a:pPr>
            <a:r>
              <a:rPr lang="en-US" altLang="ru-RU" sz="1800" b="1" dirty="0" smtClean="0">
                <a:latin typeface="Arial" charset="0"/>
                <a:cs typeface="Arial Unicode MS" charset="0"/>
              </a:rPr>
              <a:t>- </a:t>
            </a: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системы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 </a:t>
            </a: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нейтрализации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 </a:t>
            </a: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кислот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 и  </a:t>
            </a:r>
          </a:p>
          <a:p>
            <a:pPr hangingPunct="1">
              <a:lnSpc>
                <a:spcPct val="110000"/>
              </a:lnSpc>
              <a:spcBef>
                <a:spcPts val="700"/>
              </a:spcBef>
              <a:buClrTx/>
              <a:buFontTx/>
              <a:buNone/>
            </a:pPr>
            <a:r>
              <a:rPr lang="en-US" altLang="ru-RU" sz="1800" b="1" dirty="0" smtClean="0">
                <a:latin typeface="Arial" charset="0"/>
                <a:cs typeface="Arial Unicode MS" charset="0"/>
              </a:rPr>
              <a:t>  </a:t>
            </a: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сточных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 </a:t>
            </a: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вод</a:t>
            </a:r>
            <a:endParaRPr lang="en-US" altLang="ru-RU" sz="1800" b="1" dirty="0" smtClean="0">
              <a:latin typeface="Arial" charset="0"/>
              <a:cs typeface="Arial Unicode MS" charset="0"/>
            </a:endParaRPr>
          </a:p>
          <a:p>
            <a:pPr hangingPunct="1">
              <a:lnSpc>
                <a:spcPct val="110000"/>
              </a:lnSpc>
              <a:spcBef>
                <a:spcPts val="700"/>
              </a:spcBef>
              <a:buClrTx/>
              <a:buFontTx/>
              <a:buNone/>
            </a:pPr>
            <a:r>
              <a:rPr lang="en-US" altLang="ru-RU" sz="1800" dirty="0" smtClean="0">
                <a:latin typeface="Arial" charset="0"/>
                <a:cs typeface="Arial Unicode MS" charset="0"/>
              </a:rPr>
              <a:t>- </a:t>
            </a: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очистка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 и </a:t>
            </a: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фил</a:t>
            </a:r>
            <a:r>
              <a:rPr lang="ru-RU" altLang="ru-RU" sz="1800" b="1" dirty="0" smtClean="0">
                <a:latin typeface="Arial" charset="0"/>
                <a:cs typeface="Arial Unicode MS" charset="0"/>
              </a:rPr>
              <a:t>ь</a:t>
            </a: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трация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 </a:t>
            </a: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вод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 </a:t>
            </a: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из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  </a:t>
            </a:r>
          </a:p>
          <a:p>
            <a:pPr hangingPunct="1">
              <a:lnSpc>
                <a:spcPct val="110000"/>
              </a:lnSpc>
              <a:spcBef>
                <a:spcPts val="700"/>
              </a:spcBef>
              <a:buClrTx/>
              <a:buFontTx/>
              <a:buNone/>
            </a:pPr>
            <a:r>
              <a:rPr lang="en-US" altLang="ru-RU" sz="1800" b="1" dirty="0" smtClean="0">
                <a:latin typeface="Arial" charset="0"/>
                <a:cs typeface="Arial Unicode MS" charset="0"/>
              </a:rPr>
              <a:t>  </a:t>
            </a: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промышленных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 </a:t>
            </a: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предприятий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 </a:t>
            </a:r>
          </a:p>
          <a:p>
            <a:pPr hangingPunct="1">
              <a:lnSpc>
                <a:spcPct val="110000"/>
              </a:lnSpc>
              <a:spcBef>
                <a:spcPts val="700"/>
              </a:spcBef>
              <a:buClrTx/>
              <a:buFontTx/>
              <a:buNone/>
            </a:pPr>
            <a:r>
              <a:rPr lang="en-US" altLang="ru-RU" sz="1800" dirty="0" smtClean="0">
                <a:latin typeface="Arial" charset="0"/>
                <a:cs typeface="Arial Unicode MS" charset="0"/>
              </a:rPr>
              <a:t>- </a:t>
            </a: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очистка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 </a:t>
            </a: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растворов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 </a:t>
            </a:r>
            <a:r>
              <a:rPr lang="en-US" altLang="ru-RU" sz="1800" b="1" dirty="0" err="1" smtClean="0">
                <a:latin typeface="Arial" charset="0"/>
                <a:cs typeface="Arial Unicode MS" charset="0"/>
              </a:rPr>
              <a:t>обезжиривания</a:t>
            </a:r>
            <a:r>
              <a:rPr lang="en-US" altLang="ru-RU" sz="1800" b="1" dirty="0" smtClean="0">
                <a:latin typeface="Arial" charset="0"/>
                <a:cs typeface="Arial Unicode MS" charset="0"/>
              </a:rPr>
              <a:t> </a:t>
            </a:r>
          </a:p>
          <a:p>
            <a:endParaRPr lang="ru-RU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154E22D-41F5-40BB-A603-B3F8DAC573FF}" type="slidenum">
              <a:rPr lang="cs-CZ" smtClean="0"/>
              <a:pPr>
                <a:defRPr/>
              </a:pPr>
              <a:t>13</a:t>
            </a:fld>
            <a:endParaRPr lang="cs-CZ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9" y="3501008"/>
            <a:ext cx="3816424" cy="3143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7838" y="1340768"/>
            <a:ext cx="4284702" cy="2750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9057" y="3933056"/>
            <a:ext cx="3275920" cy="2520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8" name="Picture 2" descr="D:\ALTA RUS\L O G O\oficial logo ALTA RUS\ALTA_RUS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847111" y="6068875"/>
            <a:ext cx="1174750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615463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210146"/>
          </a:xfrm>
        </p:spPr>
        <p:txBody>
          <a:bodyPr/>
          <a:lstStyle/>
          <a:p>
            <a:pPr algn="ctr"/>
            <a:r>
              <a:rPr lang="ru-RU" sz="3200" b="1" dirty="0">
                <a:cs typeface="Arial" charset="0"/>
              </a:rPr>
              <a:t>Линии горячего </a:t>
            </a:r>
            <a:r>
              <a:rPr lang="ru-RU" sz="3200" b="1" dirty="0" smtClean="0">
                <a:cs typeface="Arial" charset="0"/>
              </a:rPr>
              <a:t>оцинкования  </a:t>
            </a:r>
            <a:endParaRPr lang="ru-RU" sz="3200" b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154E22D-41F5-40BB-A603-B3F8DAC573FF}" type="slidenum">
              <a:rPr lang="cs-CZ" smtClean="0"/>
              <a:pPr>
                <a:defRPr/>
              </a:pPr>
              <a:t>14</a:t>
            </a:fld>
            <a:endParaRPr lang="cs-CZ"/>
          </a:p>
        </p:txBody>
      </p:sp>
      <p:pic>
        <p:nvPicPr>
          <p:cNvPr id="5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3935" y="1988840"/>
            <a:ext cx="4680065" cy="3599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6" name="Zástupný symbol pro obsah 2"/>
          <p:cNvSpPr txBox="1">
            <a:spLocks/>
          </p:cNvSpPr>
          <p:nvPr/>
        </p:nvSpPr>
        <p:spPr bwMode="auto">
          <a:xfrm>
            <a:off x="323528" y="1340768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 smtClean="0"/>
              <a:t>Представляем в России Чешскую компанию </a:t>
            </a:r>
            <a:r>
              <a:rPr lang="cs-CZ" sz="2800" dirty="0" smtClean="0"/>
              <a:t>EKOMOR</a:t>
            </a:r>
          </a:p>
          <a:p>
            <a:pPr hangingPunct="1">
              <a:lnSpc>
                <a:spcPct val="110000"/>
              </a:lnSpc>
              <a:spcBef>
                <a:spcPts val="700"/>
              </a:spcBef>
              <a:buFont typeface="Wingdings" panose="05000000000000000000" pitchFamily="2" charset="2"/>
              <a:buChar char="Ø"/>
            </a:pPr>
            <a:r>
              <a:rPr lang="en-US" altLang="ru-RU" sz="1800" b="1" u="sng" dirty="0" err="1">
                <a:latin typeface="Arial" charset="0"/>
              </a:rPr>
              <a:t>штучное</a:t>
            </a:r>
            <a:r>
              <a:rPr lang="en-US" altLang="ru-RU" sz="1800" b="1" u="sng" dirty="0">
                <a:latin typeface="Arial" charset="0"/>
              </a:rPr>
              <a:t> </a:t>
            </a:r>
            <a:r>
              <a:rPr lang="ru-RU" altLang="ru-RU" sz="1800" b="1" u="sng" dirty="0" smtClean="0">
                <a:latin typeface="Arial" charset="0"/>
              </a:rPr>
              <a:t>о</a:t>
            </a:r>
            <a:r>
              <a:rPr lang="en-US" altLang="ru-RU" sz="1800" b="1" u="sng" dirty="0" err="1" smtClean="0">
                <a:latin typeface="Arial" charset="0"/>
              </a:rPr>
              <a:t>цинкование</a:t>
            </a:r>
            <a:r>
              <a:rPr lang="ru-RU" altLang="ru-RU" sz="1800" b="1" u="sng" dirty="0" smtClean="0">
                <a:latin typeface="Arial" charset="0"/>
              </a:rPr>
              <a:t> </a:t>
            </a:r>
            <a:endParaRPr lang="ru-RU" altLang="ru-RU" sz="1800" b="1" u="sng" dirty="0" smtClean="0">
              <a:latin typeface="Arial" charset="0"/>
            </a:endParaRPr>
          </a:p>
          <a:p>
            <a:pPr hangingPunct="1">
              <a:lnSpc>
                <a:spcPct val="110000"/>
              </a:lnSpc>
              <a:spcBef>
                <a:spcPts val="700"/>
              </a:spcBef>
              <a:buClrTx/>
              <a:buFontTx/>
              <a:buNone/>
            </a:pPr>
            <a:r>
              <a:rPr lang="en-US" altLang="ru-RU" sz="1600" b="1" dirty="0">
                <a:latin typeface="Arial" charset="0"/>
                <a:cs typeface="Arial Unicode MS" charset="0"/>
              </a:rPr>
              <a:t>- </a:t>
            </a:r>
            <a:r>
              <a:rPr lang="en-US" altLang="ru-RU" sz="1600" b="1" dirty="0" err="1">
                <a:latin typeface="Arial" charset="0"/>
                <a:cs typeface="Arial Unicode MS" charset="0"/>
              </a:rPr>
              <a:t>производительность</a:t>
            </a:r>
            <a:r>
              <a:rPr lang="en-US" altLang="ru-RU" sz="1600" b="1" dirty="0">
                <a:latin typeface="Arial" charset="0"/>
                <a:cs typeface="Arial Unicode MS" charset="0"/>
              </a:rPr>
              <a:t> </a:t>
            </a:r>
            <a:r>
              <a:rPr lang="en-US" altLang="ru-RU" sz="1600" b="1" dirty="0" err="1">
                <a:latin typeface="Arial" charset="0"/>
                <a:cs typeface="Arial Unicode MS" charset="0"/>
              </a:rPr>
              <a:t>до</a:t>
            </a:r>
            <a:r>
              <a:rPr lang="en-US" altLang="ru-RU" sz="1600" b="1" dirty="0">
                <a:latin typeface="Arial" charset="0"/>
                <a:cs typeface="Arial Unicode MS" charset="0"/>
              </a:rPr>
              <a:t> 60.000 т/г</a:t>
            </a:r>
            <a:endParaRPr lang="en-US" altLang="ru-RU" sz="1600" b="1" i="1" dirty="0">
              <a:latin typeface="Arial" charset="0"/>
              <a:cs typeface="Arial Unicode MS" charset="0"/>
            </a:endParaRPr>
          </a:p>
          <a:p>
            <a:pPr hangingPunct="1">
              <a:lnSpc>
                <a:spcPct val="110000"/>
              </a:lnSpc>
              <a:spcBef>
                <a:spcPts val="700"/>
              </a:spcBef>
              <a:buClrTx/>
              <a:buFontTx/>
              <a:buNone/>
            </a:pPr>
            <a:r>
              <a:rPr lang="en-US" altLang="ru-RU" sz="1600" b="1" i="1" dirty="0">
                <a:latin typeface="Arial" charset="0"/>
                <a:cs typeface="Arial Unicode MS" charset="0"/>
              </a:rPr>
              <a:t>- </a:t>
            </a:r>
            <a:r>
              <a:rPr lang="en-US" altLang="ru-RU" sz="1600" b="1" dirty="0" err="1">
                <a:latin typeface="Arial" charset="0"/>
                <a:cs typeface="Arial Unicode MS" charset="0"/>
              </a:rPr>
              <a:t>размеры</a:t>
            </a:r>
            <a:r>
              <a:rPr lang="en-US" altLang="ru-RU" sz="1600" b="1" dirty="0">
                <a:latin typeface="Arial" charset="0"/>
                <a:cs typeface="Arial Unicode MS" charset="0"/>
              </a:rPr>
              <a:t> </a:t>
            </a:r>
            <a:r>
              <a:rPr lang="en-US" altLang="ru-RU" sz="1600" b="1" dirty="0" err="1">
                <a:latin typeface="Arial" charset="0"/>
                <a:cs typeface="Arial Unicode MS" charset="0"/>
              </a:rPr>
              <a:t>товара</a:t>
            </a:r>
            <a:r>
              <a:rPr lang="en-US" altLang="ru-RU" sz="1600" b="1" dirty="0">
                <a:latin typeface="Arial" charset="0"/>
                <a:cs typeface="Arial Unicode MS" charset="0"/>
              </a:rPr>
              <a:t> </a:t>
            </a:r>
            <a:r>
              <a:rPr lang="en-US" altLang="ru-RU" sz="1600" b="1" dirty="0" err="1">
                <a:latin typeface="Arial" charset="0"/>
                <a:cs typeface="Arial Unicode MS" charset="0"/>
              </a:rPr>
              <a:t>до</a:t>
            </a:r>
            <a:r>
              <a:rPr lang="en-US" altLang="ru-RU" sz="1600" b="1" dirty="0">
                <a:latin typeface="Arial" charset="0"/>
                <a:cs typeface="Arial Unicode MS" charset="0"/>
              </a:rPr>
              <a:t> 19 </a:t>
            </a:r>
            <a:r>
              <a:rPr lang="en-US" altLang="ru-RU" sz="1600" b="1" dirty="0" err="1">
                <a:latin typeface="Arial" charset="0"/>
                <a:cs typeface="Arial Unicode MS" charset="0"/>
              </a:rPr>
              <a:t>метров</a:t>
            </a:r>
            <a:endParaRPr lang="en-US" altLang="ru-RU" sz="1600" b="1" dirty="0">
              <a:latin typeface="Arial" charset="0"/>
              <a:cs typeface="Arial Unicode MS" charset="0"/>
            </a:endParaRPr>
          </a:p>
          <a:p>
            <a:pPr hangingPunct="1">
              <a:lnSpc>
                <a:spcPct val="110000"/>
              </a:lnSpc>
              <a:spcBef>
                <a:spcPts val="700"/>
              </a:spcBef>
              <a:buClrTx/>
              <a:buFontTx/>
              <a:buNone/>
            </a:pPr>
            <a:r>
              <a:rPr lang="en-US" altLang="ru-RU" sz="1600" dirty="0">
                <a:latin typeface="Arial" charset="0"/>
                <a:cs typeface="Arial Unicode MS" charset="0"/>
              </a:rPr>
              <a:t>- </a:t>
            </a:r>
            <a:r>
              <a:rPr lang="en-US" altLang="ru-RU" sz="1600" b="1" dirty="0" err="1">
                <a:latin typeface="Arial" charset="0"/>
                <a:cs typeface="Arial Unicode MS" charset="0"/>
              </a:rPr>
              <a:t>отопление</a:t>
            </a:r>
            <a:r>
              <a:rPr lang="en-US" altLang="ru-RU" sz="1600" b="1" dirty="0">
                <a:latin typeface="Arial" charset="0"/>
                <a:cs typeface="Arial Unicode MS" charset="0"/>
              </a:rPr>
              <a:t> </a:t>
            </a:r>
            <a:r>
              <a:rPr lang="en-US" altLang="ru-RU" sz="1600" b="1" dirty="0" err="1">
                <a:latin typeface="Arial" charset="0"/>
                <a:cs typeface="Arial Unicode MS" charset="0"/>
              </a:rPr>
              <a:t>печки</a:t>
            </a:r>
            <a:r>
              <a:rPr lang="en-US" altLang="ru-RU" sz="1600" b="1" dirty="0">
                <a:latin typeface="Arial" charset="0"/>
                <a:cs typeface="Arial Unicode MS" charset="0"/>
              </a:rPr>
              <a:t> </a:t>
            </a:r>
            <a:r>
              <a:rPr lang="en-US" altLang="ru-RU" sz="1600" b="1" dirty="0" err="1">
                <a:latin typeface="Arial" charset="0"/>
                <a:cs typeface="Arial Unicode MS" charset="0"/>
              </a:rPr>
              <a:t>газом</a:t>
            </a:r>
            <a:r>
              <a:rPr lang="en-US" altLang="ru-RU" sz="1600" b="1" dirty="0">
                <a:latin typeface="Arial" charset="0"/>
                <a:cs typeface="Arial Unicode MS" charset="0"/>
              </a:rPr>
              <a:t> </a:t>
            </a:r>
            <a:r>
              <a:rPr lang="en-US" altLang="ru-RU" sz="1600" b="1" dirty="0" err="1">
                <a:latin typeface="Arial" charset="0"/>
                <a:cs typeface="Arial Unicode MS" charset="0"/>
              </a:rPr>
              <a:t>или</a:t>
            </a:r>
            <a:r>
              <a:rPr lang="en-US" altLang="ru-RU" sz="1600" b="1" dirty="0">
                <a:latin typeface="Arial" charset="0"/>
                <a:cs typeface="Arial Unicode MS" charset="0"/>
              </a:rPr>
              <a:t> </a:t>
            </a:r>
            <a:r>
              <a:rPr lang="ru-RU" altLang="ru-RU" sz="1600" b="1" dirty="0" smtClean="0">
                <a:latin typeface="Arial" charset="0"/>
                <a:cs typeface="Arial Unicode MS" charset="0"/>
              </a:rPr>
              <a:t>э</a:t>
            </a:r>
            <a:r>
              <a:rPr lang="en-US" altLang="ru-RU" sz="1600" b="1" dirty="0" err="1" smtClean="0">
                <a:latin typeface="Arial" charset="0"/>
                <a:cs typeface="Arial Unicode MS" charset="0"/>
              </a:rPr>
              <a:t>ле</a:t>
            </a:r>
            <a:r>
              <a:rPr lang="ru-RU" altLang="ru-RU" sz="1600" b="1" dirty="0" smtClean="0">
                <a:latin typeface="Arial" charset="0"/>
                <a:cs typeface="Arial Unicode MS" charset="0"/>
              </a:rPr>
              <a:t>т</a:t>
            </a:r>
            <a:r>
              <a:rPr lang="en-US" altLang="ru-RU" sz="1600" b="1" dirty="0" err="1" smtClean="0">
                <a:latin typeface="Arial" charset="0"/>
                <a:cs typeface="Arial Unicode MS" charset="0"/>
              </a:rPr>
              <a:t>ри</a:t>
            </a:r>
            <a:r>
              <a:rPr lang="ru-RU" altLang="ru-RU" sz="1600" b="1" dirty="0" smtClean="0">
                <a:latin typeface="Arial" charset="0"/>
                <a:cs typeface="Arial Unicode MS" charset="0"/>
              </a:rPr>
              <a:t>ч.</a:t>
            </a:r>
            <a:endParaRPr lang="en-US" altLang="ru-RU" sz="1600" b="1" dirty="0">
              <a:latin typeface="Arial" charset="0"/>
              <a:cs typeface="Arial Unicode MS" charset="0"/>
            </a:endParaRPr>
          </a:p>
          <a:p>
            <a:pPr hangingPunct="1">
              <a:lnSpc>
                <a:spcPct val="110000"/>
              </a:lnSpc>
              <a:spcBef>
                <a:spcPts val="700"/>
              </a:spcBef>
              <a:buFont typeface="Wingdings" panose="05000000000000000000" pitchFamily="2" charset="2"/>
              <a:buChar char="Ø"/>
            </a:pPr>
            <a:r>
              <a:rPr lang="en-US" altLang="ru-RU" sz="1800" b="1" u="sng" dirty="0" err="1">
                <a:latin typeface="Arial" charset="0"/>
              </a:rPr>
              <a:t>непрерывной</a:t>
            </a:r>
            <a:r>
              <a:rPr lang="en-US" altLang="ru-RU" sz="1800" b="1" u="sng" dirty="0">
                <a:latin typeface="Arial" charset="0"/>
              </a:rPr>
              <a:t> </a:t>
            </a:r>
            <a:r>
              <a:rPr lang="en-US" altLang="ru-RU" sz="1800" b="1" u="sng" dirty="0" err="1">
                <a:latin typeface="Arial" charset="0"/>
              </a:rPr>
              <a:t>процесс</a:t>
            </a:r>
            <a:endParaRPr lang="ru-RU" altLang="ru-RU" sz="1800" b="1" u="sng" dirty="0">
              <a:latin typeface="Arial" charset="0"/>
            </a:endParaRPr>
          </a:p>
          <a:p>
            <a:pPr marL="0" indent="0" hangingPunct="1">
              <a:lnSpc>
                <a:spcPct val="110000"/>
              </a:lnSpc>
              <a:spcBef>
                <a:spcPts val="700"/>
              </a:spcBef>
              <a:buNone/>
            </a:pPr>
            <a:r>
              <a:rPr lang="ru-RU" altLang="ru-RU" sz="1600" b="1" dirty="0" smtClean="0">
                <a:latin typeface="Arial" charset="0"/>
                <a:cs typeface="Arial Unicode MS" charset="0"/>
              </a:rPr>
              <a:t>- </a:t>
            </a:r>
            <a:r>
              <a:rPr lang="en-US" altLang="ru-RU" sz="1600" b="1" dirty="0" err="1" smtClean="0">
                <a:latin typeface="Arial" charset="0"/>
                <a:cs typeface="Arial Unicode MS" charset="0"/>
              </a:rPr>
              <a:t>оцинкование</a:t>
            </a:r>
            <a:r>
              <a:rPr lang="en-US" altLang="ru-RU" sz="1600" b="1" dirty="0" smtClean="0">
                <a:latin typeface="Arial" charset="0"/>
                <a:cs typeface="Arial Unicode MS" charset="0"/>
              </a:rPr>
              <a:t> </a:t>
            </a:r>
            <a:r>
              <a:rPr lang="en-US" altLang="ru-RU" sz="1600" b="1" dirty="0" err="1">
                <a:latin typeface="Arial" charset="0"/>
                <a:cs typeface="Arial Unicode MS" charset="0"/>
              </a:rPr>
              <a:t>ленты</a:t>
            </a:r>
            <a:r>
              <a:rPr lang="en-US" altLang="ru-RU" sz="1600" b="1" dirty="0">
                <a:latin typeface="Arial" charset="0"/>
                <a:cs typeface="Arial Unicode MS" charset="0"/>
              </a:rPr>
              <a:t> </a:t>
            </a:r>
            <a:r>
              <a:rPr lang="en-US" altLang="ru-RU" sz="1600" b="1" dirty="0" err="1">
                <a:latin typeface="Arial" charset="0"/>
                <a:cs typeface="Arial Unicode MS" charset="0"/>
              </a:rPr>
              <a:t>или</a:t>
            </a:r>
            <a:r>
              <a:rPr lang="en-US" altLang="ru-RU" sz="1600" b="1" dirty="0">
                <a:latin typeface="Arial" charset="0"/>
                <a:cs typeface="Arial Unicode MS" charset="0"/>
              </a:rPr>
              <a:t> </a:t>
            </a:r>
            <a:r>
              <a:rPr lang="en-US" altLang="ru-RU" sz="1600" b="1" dirty="0" err="1">
                <a:latin typeface="Arial" charset="0"/>
                <a:cs typeface="Arial Unicode MS" charset="0"/>
              </a:rPr>
              <a:t>проволки</a:t>
            </a:r>
            <a:r>
              <a:rPr lang="en-US" altLang="ru-RU" sz="1600" b="1" dirty="0">
                <a:latin typeface="Arial" charset="0"/>
                <a:cs typeface="Arial Unicode MS" charset="0"/>
              </a:rPr>
              <a:t> </a:t>
            </a:r>
          </a:p>
          <a:p>
            <a:pPr>
              <a:buFont typeface="Wingdings" panose="05000000000000000000" pitchFamily="2" charset="2"/>
              <a:buChar char="Ø"/>
            </a:pPr>
            <a:endParaRPr lang="ru-RU" sz="1800" dirty="0" smtClean="0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4509120"/>
            <a:ext cx="2807931" cy="2160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8" name="Picture 2" descr="D:\ALTA RUS\L O G O\oficial logo ALTA RUS\ALTA_RUS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47111" y="6068875"/>
            <a:ext cx="1174750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5559419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800" b="1" dirty="0">
                <a:cs typeface="Arial" charset="0"/>
              </a:rPr>
              <a:t>Линии лакокрасочного оборудования и оборудования для подготовки поверхностей</a:t>
            </a:r>
            <a:r>
              <a:rPr lang="ru-RU" sz="2800" b="1" dirty="0" smtClean="0">
                <a:latin typeface="Arial" charset="0"/>
                <a:cs typeface="Arial" charset="0"/>
              </a:rPr>
              <a:t>;</a:t>
            </a:r>
            <a:endParaRPr lang="ru-RU" sz="28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2000" b="1" dirty="0" smtClean="0"/>
              <a:t>Камеры </a:t>
            </a:r>
            <a:r>
              <a:rPr lang="ru-RU" sz="2000" b="1" dirty="0"/>
              <a:t>окраски и сушки</a:t>
            </a:r>
            <a:endParaRPr lang="ru-RU" sz="2000" dirty="0"/>
          </a:p>
          <a:p>
            <a:r>
              <a:rPr lang="ru-RU" sz="2000" b="1" dirty="0" smtClean="0"/>
              <a:t>окраска </a:t>
            </a:r>
            <a:r>
              <a:rPr lang="ru-RU" sz="2000" b="1" dirty="0" smtClean="0"/>
              <a:t>окунанием </a:t>
            </a:r>
            <a:endParaRPr lang="ru-RU" sz="2000" b="1" dirty="0" smtClean="0"/>
          </a:p>
          <a:p>
            <a:r>
              <a:rPr lang="ru-RU" sz="2000" b="1" dirty="0" smtClean="0"/>
              <a:t>Рабочие места для работы вручную</a:t>
            </a:r>
          </a:p>
          <a:p>
            <a:r>
              <a:rPr lang="ru-RU" sz="2000" b="1" dirty="0" smtClean="0"/>
              <a:t>Линии непрерывного действия</a:t>
            </a:r>
            <a:endParaRPr lang="ru-RU" sz="2000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154E22D-41F5-40BB-A603-B3F8DAC573FF}" type="slidenum">
              <a:rPr lang="cs-CZ" smtClean="0"/>
              <a:pPr>
                <a:defRPr/>
              </a:pPr>
              <a:t>15</a:t>
            </a:fld>
            <a:endParaRPr lang="cs-CZ"/>
          </a:p>
        </p:txBody>
      </p:sp>
      <p:pic>
        <p:nvPicPr>
          <p:cNvPr id="2050" name="Picture 2" descr="Enetex Technology s.r.o. Olomouc - Enercon Aurich">
            <a:hlinkClick r:id="rId2" tooltip="Enetex Technology s.r.o. Olomouc - Enercon Aurich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419871"/>
            <a:ext cx="3506477" cy="201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tn_obrazek_746.jpg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2" y="1241630"/>
            <a:ext cx="3312368" cy="2484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tn_obrazek_657.jpg">
            <a:hlinkClick r:id="rId6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3861048"/>
            <a:ext cx="3024336" cy="2268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Solar Turbines s.r.o. Žatec">
            <a:hlinkClick r:id="rId8" tooltip="Solar Turbines s.r.o. Žatec"/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0240" y="3419871"/>
            <a:ext cx="2160240" cy="2880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D:\ALTA RUS\L O G O\oficial logo ALTA RUS\ALTA_RUS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847111" y="6068875"/>
            <a:ext cx="1174750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288906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3200" b="1" dirty="0">
                <a:cs typeface="Arial" charset="0"/>
              </a:rPr>
              <a:t>Неразрушающий контроль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14325" y="1008186"/>
            <a:ext cx="8524875" cy="4997328"/>
          </a:xfrm>
        </p:spPr>
        <p:txBody>
          <a:bodyPr/>
          <a:lstStyle/>
          <a:p>
            <a:pPr algn="ctr"/>
            <a:r>
              <a:rPr lang="ru-RU" dirty="0" smtClean="0"/>
              <a:t>Главный партнер </a:t>
            </a:r>
            <a:r>
              <a:rPr lang="ru-RU" dirty="0" smtClean="0"/>
              <a:t>Чешской компании   </a:t>
            </a:r>
            <a:r>
              <a:rPr lang="cs-CZ" dirty="0" smtClean="0"/>
              <a:t>ATG s.r.o</a:t>
            </a:r>
            <a:r>
              <a:rPr lang="ru-RU" dirty="0" smtClean="0"/>
              <a:t> </a:t>
            </a:r>
            <a:r>
              <a:rPr lang="ru-RU" dirty="0"/>
              <a:t>в России </a:t>
            </a:r>
            <a:endParaRPr lang="ru-RU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ru-RU" sz="2400" b="1" u="sng" dirty="0"/>
              <a:t>Оборудование </a:t>
            </a:r>
            <a:r>
              <a:rPr lang="ru-RU" sz="2400" b="1" u="sng" dirty="0" smtClean="0"/>
              <a:t>для</a:t>
            </a:r>
            <a:endParaRPr lang="ru-RU" sz="2400" b="1" u="sng" dirty="0"/>
          </a:p>
          <a:p>
            <a:pPr>
              <a:buFont typeface="Wingdings" panose="05000000000000000000" pitchFamily="2" charset="2"/>
              <a:buChar char="§"/>
            </a:pPr>
            <a:r>
              <a:rPr lang="ru-RU" sz="2400" b="1" dirty="0" smtClean="0"/>
              <a:t>Капиллярного контроля</a:t>
            </a:r>
            <a:endParaRPr lang="ru-RU" sz="2400" b="1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ru-RU" sz="2400" b="1" dirty="0" smtClean="0"/>
              <a:t>Ультразвукового контроля</a:t>
            </a:r>
            <a:endParaRPr lang="ru-RU" sz="2400" b="1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ru-RU" sz="2400" b="1" dirty="0" err="1" smtClean="0"/>
              <a:t>Вихретокового</a:t>
            </a:r>
            <a:r>
              <a:rPr lang="ru-RU" sz="2400" b="1" dirty="0" smtClean="0"/>
              <a:t> контроля</a:t>
            </a:r>
            <a:endParaRPr lang="ru-RU" sz="2400" b="1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ru-RU" sz="2400" b="1" dirty="0"/>
              <a:t>Радиографический </a:t>
            </a:r>
            <a:r>
              <a:rPr lang="ru-RU" sz="2400" b="1" dirty="0" smtClean="0"/>
              <a:t>контроль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2400" b="1" dirty="0" smtClean="0"/>
              <a:t>Магнитопорошкового контроля</a:t>
            </a:r>
            <a:endParaRPr lang="ru-RU" sz="2400" b="1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ru-RU" sz="2400" b="1" u="sng" dirty="0" smtClean="0"/>
              <a:t>Квалификационное обучение </a:t>
            </a:r>
          </a:p>
          <a:p>
            <a:pPr marL="0" indent="0">
              <a:buNone/>
            </a:pPr>
            <a:r>
              <a:rPr lang="ru-RU" sz="2400" u="sng" dirty="0" smtClean="0"/>
              <a:t>и сертификация персонала</a:t>
            </a:r>
            <a:endParaRPr lang="ru-RU" sz="2400" b="1" u="sng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154E22D-41F5-40BB-A603-B3F8DAC573FF}" type="slidenum">
              <a:rPr lang="cs-CZ" smtClean="0"/>
              <a:pPr>
                <a:defRPr/>
              </a:pPr>
              <a:t>16</a:t>
            </a:fld>
            <a:endParaRPr lang="cs-CZ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9793" y="2079254"/>
            <a:ext cx="2218556" cy="147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4633" y="3576699"/>
            <a:ext cx="2288586" cy="1528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7660" y="2060848"/>
            <a:ext cx="1881952" cy="1515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6659" y="5105238"/>
            <a:ext cx="2312231" cy="1541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D:\ALTA RUS\L O G O\oficial logo ALTA RUS\ALTA_RUS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47111" y="6068875"/>
            <a:ext cx="1174750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148152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Zástupný symbol pro zápatí 1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r>
              <a:rPr lang="ru-RU">
                <a:latin typeface="Arial" charset="0"/>
              </a:rPr>
              <a:t>Страница</a:t>
            </a:r>
            <a:r>
              <a:rPr lang="de-DE">
                <a:latin typeface="Arial" charset="0"/>
              </a:rPr>
              <a:t> </a:t>
            </a:r>
            <a:r>
              <a:rPr lang="de-DE">
                <a:latin typeface="Arial" charset="0"/>
                <a:sym typeface="Wingdings" pitchFamily="2" charset="2"/>
              </a:rPr>
              <a:t></a:t>
            </a:r>
            <a:r>
              <a:rPr lang="de-DE">
                <a:latin typeface="Arial" charset="0"/>
              </a:rPr>
              <a:t> </a:t>
            </a:r>
            <a:fld id="{148A84D5-2D82-4346-9F3E-ADC9C99D8298}" type="slidenum">
              <a:rPr lang="de-DE">
                <a:latin typeface="Arial" charset="0"/>
              </a:rPr>
              <a:pPr/>
              <a:t>17</a:t>
            </a:fld>
            <a:endParaRPr lang="de-DE">
              <a:latin typeface="Arial" charset="0"/>
            </a:endParaRPr>
          </a:p>
        </p:txBody>
      </p:sp>
      <p:sp>
        <p:nvSpPr>
          <p:cNvPr id="57347" name="Rectangle 3"/>
          <p:cNvSpPr>
            <a:spLocks noChangeArrowheads="1"/>
          </p:cNvSpPr>
          <p:nvPr/>
        </p:nvSpPr>
        <p:spPr bwMode="gray">
          <a:xfrm>
            <a:off x="328613" y="3402013"/>
            <a:ext cx="2738437" cy="2573337"/>
          </a:xfrm>
          <a:prstGeom prst="rect">
            <a:avLst/>
          </a:prstGeom>
          <a:solidFill>
            <a:schemeClr val="bg1"/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lIns="108000" tIns="108000" rIns="72000" bIns="72000"/>
          <a:lstStyle/>
          <a:p>
            <a:pPr marL="190500" indent="-190500">
              <a:buClr>
                <a:srgbClr val="0061B2"/>
              </a:buClr>
            </a:pPr>
            <a:r>
              <a:rPr lang="ru-RU">
                <a:solidFill>
                  <a:srgbClr val="000000"/>
                </a:solidFill>
                <a:cs typeface="Arial" charset="0"/>
              </a:rPr>
              <a:t>Металлообрабатыва-ющие комплексы</a:t>
            </a:r>
          </a:p>
          <a:p>
            <a:pPr marL="190500" indent="-190500">
              <a:buClr>
                <a:srgbClr val="0061B2"/>
              </a:buClr>
            </a:pPr>
            <a:r>
              <a:rPr lang="ru-RU">
                <a:solidFill>
                  <a:srgbClr val="000000"/>
                </a:solidFill>
                <a:cs typeface="Arial" charset="0"/>
              </a:rPr>
              <a:t>Формовочные и ковочные линии</a:t>
            </a:r>
          </a:p>
          <a:p>
            <a:pPr marL="190500" indent="-190500">
              <a:buClr>
                <a:srgbClr val="0061B2"/>
              </a:buClr>
            </a:pPr>
            <a:r>
              <a:rPr lang="ru-RU">
                <a:solidFill>
                  <a:srgbClr val="000000"/>
                </a:solidFill>
                <a:cs typeface="Arial" charset="0"/>
              </a:rPr>
              <a:t>Станочные линии и роботизированные пункты</a:t>
            </a:r>
          </a:p>
          <a:p>
            <a:pPr marL="190500" indent="-190500">
              <a:buClr>
                <a:srgbClr val="0061B2"/>
              </a:buClr>
            </a:pPr>
            <a:r>
              <a:rPr lang="ru-RU">
                <a:solidFill>
                  <a:srgbClr val="000000"/>
                </a:solidFill>
                <a:cs typeface="Arial" charset="0"/>
              </a:rPr>
              <a:t>Литейные линии</a:t>
            </a:r>
            <a:endParaRPr lang="ru-RU" noProof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7348" name="Rectangle 4"/>
          <p:cNvSpPr>
            <a:spLocks noChangeArrowheads="1"/>
          </p:cNvSpPr>
          <p:nvPr/>
        </p:nvSpPr>
        <p:spPr bwMode="gray">
          <a:xfrm>
            <a:off x="3213100" y="3402013"/>
            <a:ext cx="2738438" cy="2573337"/>
          </a:xfrm>
          <a:prstGeom prst="rect">
            <a:avLst/>
          </a:prstGeom>
          <a:solidFill>
            <a:schemeClr val="bg1"/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lIns="108000" tIns="108000" rIns="72000" bIns="72000"/>
          <a:lstStyle/>
          <a:p>
            <a:pPr marL="190500" indent="-190500">
              <a:buClr>
                <a:srgbClr val="0061B2"/>
              </a:buClr>
            </a:pPr>
            <a:r>
              <a:rPr lang="ru-RU">
                <a:solidFill>
                  <a:srgbClr val="000000"/>
                </a:solidFill>
                <a:cs typeface="Arial" charset="0"/>
              </a:rPr>
              <a:t>Технологические поставки для металлургической промышленности</a:t>
            </a:r>
          </a:p>
          <a:p>
            <a:pPr marL="190500" indent="-190500">
              <a:buClr>
                <a:srgbClr val="0061B2"/>
              </a:buClr>
            </a:pPr>
            <a:r>
              <a:rPr lang="ru-RU">
                <a:solidFill>
                  <a:srgbClr val="000000"/>
                </a:solidFill>
                <a:cs typeface="Arial" charset="0"/>
              </a:rPr>
              <a:t>Оборудование для раскроя материала</a:t>
            </a:r>
          </a:p>
          <a:p>
            <a:pPr marL="190500" indent="-190500">
              <a:buClr>
                <a:srgbClr val="0061B2"/>
              </a:buClr>
            </a:pPr>
            <a:r>
              <a:rPr lang="ru-RU">
                <a:solidFill>
                  <a:srgbClr val="000000"/>
                </a:solidFill>
                <a:cs typeface="Arial" charset="0"/>
              </a:rPr>
              <a:t>Сварочное оборудование</a:t>
            </a:r>
            <a:endParaRPr lang="ru-RU" noProof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7349" name="Rectangle 5"/>
          <p:cNvSpPr>
            <a:spLocks noChangeArrowheads="1"/>
          </p:cNvSpPr>
          <p:nvPr/>
        </p:nvSpPr>
        <p:spPr bwMode="gray">
          <a:xfrm>
            <a:off x="6097588" y="3402013"/>
            <a:ext cx="2738437" cy="2573337"/>
          </a:xfrm>
          <a:prstGeom prst="rect">
            <a:avLst/>
          </a:prstGeom>
          <a:solidFill>
            <a:schemeClr val="bg1"/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lIns="108000" tIns="108000" rIns="72000" bIns="72000"/>
          <a:lstStyle/>
          <a:p>
            <a:pPr marL="190500" indent="-190500">
              <a:buClr>
                <a:srgbClr val="0061B2"/>
              </a:buClr>
            </a:pPr>
            <a:r>
              <a:rPr lang="ru-RU">
                <a:solidFill>
                  <a:srgbClr val="000000"/>
                </a:solidFill>
                <a:cs typeface="Arial" charset="0"/>
              </a:rPr>
              <a:t>Разработка технического решения</a:t>
            </a:r>
          </a:p>
          <a:p>
            <a:pPr marL="190500" indent="-190500">
              <a:buClr>
                <a:srgbClr val="0061B2"/>
              </a:buClr>
            </a:pPr>
            <a:r>
              <a:rPr lang="ru-RU">
                <a:solidFill>
                  <a:srgbClr val="000000"/>
                </a:solidFill>
                <a:cs typeface="Arial" charset="0"/>
              </a:rPr>
              <a:t>Разработка проектной документации</a:t>
            </a:r>
          </a:p>
          <a:p>
            <a:pPr marL="190500" indent="-190500">
              <a:buClr>
                <a:srgbClr val="0061B2"/>
              </a:buClr>
            </a:pPr>
            <a:r>
              <a:rPr lang="ru-RU">
                <a:solidFill>
                  <a:srgbClr val="000000"/>
                </a:solidFill>
                <a:cs typeface="Arial" charset="0"/>
              </a:rPr>
              <a:t>Поставка, монтаж и ввод в эксплуатацию</a:t>
            </a:r>
          </a:p>
          <a:p>
            <a:pPr marL="190500" indent="-190500">
              <a:buClr>
                <a:srgbClr val="0061B2"/>
              </a:buClr>
            </a:pPr>
            <a:r>
              <a:rPr lang="ru-RU">
                <a:solidFill>
                  <a:srgbClr val="000000"/>
                </a:solidFill>
                <a:cs typeface="Arial" charset="0"/>
              </a:rPr>
              <a:t>Консультации</a:t>
            </a:r>
            <a:endParaRPr lang="ru-RU" noProof="1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57350" name="Picture 10" descr="stroj TOS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8613" y="1314450"/>
            <a:ext cx="2738437" cy="2098675"/>
          </a:xfrm>
          <a:prstGeom prst="rect">
            <a:avLst/>
          </a:prstGeom>
          <a:noFill/>
          <a:ln w="12700">
            <a:solidFill>
              <a:srgbClr val="C0C0C0"/>
            </a:solidFill>
            <a:miter lim="800000"/>
            <a:headEnd/>
            <a:tailEnd/>
          </a:ln>
        </p:spPr>
      </p:pic>
      <p:pic>
        <p:nvPicPr>
          <p:cNvPr id="57351" name="Picture 11" descr="smt prezentac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13100" y="1314450"/>
            <a:ext cx="2738438" cy="2095500"/>
          </a:xfrm>
          <a:prstGeom prst="rect">
            <a:avLst/>
          </a:prstGeom>
          <a:noFill/>
          <a:ln w="12700">
            <a:solidFill>
              <a:srgbClr val="C0C0C0"/>
            </a:solidFill>
            <a:miter lim="800000"/>
            <a:headEnd/>
            <a:tailEnd/>
          </a:ln>
        </p:spPr>
      </p:pic>
      <p:pic>
        <p:nvPicPr>
          <p:cNvPr id="57352" name="Picture 12" descr="ckd obrabeni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097588" y="1314450"/>
            <a:ext cx="2738437" cy="2101850"/>
          </a:xfrm>
          <a:prstGeom prst="rect">
            <a:avLst/>
          </a:prstGeom>
          <a:noFill/>
          <a:ln w="12700">
            <a:solidFill>
              <a:srgbClr val="C0C0C0"/>
            </a:solidFill>
            <a:miter lim="800000"/>
            <a:headEnd/>
            <a:tailEnd/>
          </a:ln>
        </p:spPr>
      </p:pic>
      <p:sp>
        <p:nvSpPr>
          <p:cNvPr id="57353" name="Zástupný symbol pro zápatí 1"/>
          <p:cNvSpPr txBox="1">
            <a:spLocks noGrp="1"/>
          </p:cNvSpPr>
          <p:nvPr/>
        </p:nvSpPr>
        <p:spPr bwMode="gray">
          <a:xfrm>
            <a:off x="219075" y="6408738"/>
            <a:ext cx="13430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1000">
              <a:solidFill>
                <a:srgbClr val="000000"/>
              </a:solidFill>
            </a:endParaRPr>
          </a:p>
        </p:txBody>
      </p:sp>
      <p:sp>
        <p:nvSpPr>
          <p:cNvPr id="57354" name="Rectangle 10"/>
          <p:cNvSpPr>
            <a:spLocks noChangeArrowheads="1"/>
          </p:cNvSpPr>
          <p:nvPr/>
        </p:nvSpPr>
        <p:spPr bwMode="gray">
          <a:xfrm>
            <a:off x="314325" y="82550"/>
            <a:ext cx="8524875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 eaLnBrk="0" hangingPunct="0">
              <a:lnSpc>
                <a:spcPct val="95000"/>
              </a:lnSpc>
              <a:spcBef>
                <a:spcPct val="0"/>
              </a:spcBef>
              <a:buClrTx/>
              <a:buFontTx/>
              <a:buNone/>
            </a:pPr>
            <a:r>
              <a:rPr lang="ru-RU" sz="2400" b="1" dirty="0"/>
              <a:t>Поставки комплексных проектов </a:t>
            </a:r>
            <a:r>
              <a:rPr lang="ru-RU" sz="2400" b="1" dirty="0" smtClean="0"/>
              <a:t>«под ключ»</a:t>
            </a:r>
          </a:p>
        </p:txBody>
      </p:sp>
      <p:pic>
        <p:nvPicPr>
          <p:cNvPr id="11" name="Obrázek 3" descr="ALTA_logo_barevne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278812" y="6237287"/>
            <a:ext cx="865188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číslo snímku 5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7CB5BEA-CDAC-45DD-A66E-36068CBA7B0A}" type="slidenum">
              <a:rPr lang="cs-CZ"/>
              <a:pPr>
                <a:defRPr/>
              </a:pPr>
              <a:t>18</a:t>
            </a:fld>
            <a:endParaRPr lang="cs-CZ"/>
          </a:p>
        </p:txBody>
      </p:sp>
      <p:pic>
        <p:nvPicPr>
          <p:cNvPr id="75778" name="Picture 10" descr="C:\Users\rytov\Desktop\свидетельство 1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800" y="1571625"/>
            <a:ext cx="2965450" cy="421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5779" name="Picture 11" descr="C:\Users\rytov\Desktop\свидетельство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21025" y="1571625"/>
            <a:ext cx="2890838" cy="421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5780" name="Picture 12" descr="C:\Users\rytov\Desktop\свидетельство 3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132513" y="1571625"/>
            <a:ext cx="2940050" cy="421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5781" name="Picture 2" descr="D:\ALTA RUS\L O G O\oficial logo ALTA RUS\ALTA_RUS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715250" y="6065838"/>
            <a:ext cx="1174750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5782" name="TextovéPole 10"/>
          <p:cNvSpPr txBox="1">
            <a:spLocks noChangeArrowheads="1"/>
          </p:cNvSpPr>
          <p:nvPr/>
        </p:nvSpPr>
        <p:spPr bwMode="auto">
          <a:xfrm>
            <a:off x="395288" y="428625"/>
            <a:ext cx="8424862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800" b="1" dirty="0"/>
              <a:t>Свидетельство о допуске к работам </a:t>
            </a:r>
            <a:r>
              <a:rPr lang="ru-RU" sz="2800" b="1" dirty="0" smtClean="0"/>
              <a:t>в капитальном строительстве </a:t>
            </a:r>
            <a:endParaRPr lang="cs-CZ" sz="2800" b="1" dirty="0"/>
          </a:p>
        </p:txBody>
      </p:sp>
    </p:spTree>
    <p:extLst>
      <p:ext uri="{BB962C8B-B14F-4D97-AF65-F5344CB8AC3E}">
        <p14:creationId xmlns:p14="http://schemas.microsoft.com/office/powerpoint/2010/main" val="33576782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Rectangle 5"/>
          <p:cNvSpPr>
            <a:spLocks noChangeArrowheads="1"/>
          </p:cNvSpPr>
          <p:nvPr/>
        </p:nvSpPr>
        <p:spPr bwMode="auto">
          <a:xfrm>
            <a:off x="769938" y="2784475"/>
            <a:ext cx="1868487" cy="1096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285750" indent="-285750">
              <a:spcBef>
                <a:spcPct val="20000"/>
              </a:spcBef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30000"/>
              </a:spcBef>
              <a:buFontTx/>
              <a:buNone/>
            </a:pPr>
            <a:r>
              <a:rPr lang="ru-RU" sz="2000" dirty="0" smtClean="0"/>
              <a:t>Монтаж </a:t>
            </a:r>
            <a:r>
              <a:rPr lang="ru-RU" sz="2000" dirty="0"/>
              <a:t>и</a:t>
            </a:r>
          </a:p>
          <a:p>
            <a:pPr algn="r">
              <a:lnSpc>
                <a:spcPct val="90000"/>
              </a:lnSpc>
              <a:spcBef>
                <a:spcPct val="30000"/>
              </a:spcBef>
              <a:buFontTx/>
              <a:buNone/>
            </a:pPr>
            <a:r>
              <a:rPr lang="ru-RU" sz="2000" dirty="0"/>
              <a:t>введение в</a:t>
            </a:r>
          </a:p>
          <a:p>
            <a:pPr algn="r">
              <a:lnSpc>
                <a:spcPct val="90000"/>
              </a:lnSpc>
              <a:spcBef>
                <a:spcPct val="30000"/>
              </a:spcBef>
              <a:buFontTx/>
              <a:buNone/>
            </a:pPr>
            <a:r>
              <a:rPr lang="ru-RU" sz="2000" dirty="0"/>
              <a:t>эксплуатацию</a:t>
            </a:r>
            <a:endParaRPr lang="en-US" sz="2000" dirty="0"/>
          </a:p>
        </p:txBody>
      </p:sp>
      <p:sp>
        <p:nvSpPr>
          <p:cNvPr id="14340" name="Rectangle 6"/>
          <p:cNvSpPr>
            <a:spLocks noChangeArrowheads="1"/>
          </p:cNvSpPr>
          <p:nvPr/>
        </p:nvSpPr>
        <p:spPr bwMode="auto">
          <a:xfrm>
            <a:off x="3349625" y="1022350"/>
            <a:ext cx="2759075" cy="363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285750" indent="-285750">
              <a:spcBef>
                <a:spcPct val="20000"/>
              </a:spcBef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None/>
            </a:pPr>
            <a:r>
              <a:rPr lang="ru-RU" sz="2000"/>
              <a:t>Технические анализы</a:t>
            </a:r>
            <a:endParaRPr lang="en-US" sz="2000"/>
          </a:p>
        </p:txBody>
      </p:sp>
      <p:sp>
        <p:nvSpPr>
          <p:cNvPr id="14341" name="Rectangle 7"/>
          <p:cNvSpPr>
            <a:spLocks noChangeArrowheads="1"/>
          </p:cNvSpPr>
          <p:nvPr/>
        </p:nvSpPr>
        <p:spPr bwMode="auto">
          <a:xfrm>
            <a:off x="6670675" y="3289300"/>
            <a:ext cx="1816100" cy="73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285750" indent="-285750">
              <a:spcBef>
                <a:spcPct val="20000"/>
              </a:spcBef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None/>
            </a:pPr>
            <a:r>
              <a:rPr lang="ru-RU" sz="2000"/>
              <a:t>Предложение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None/>
            </a:pPr>
            <a:r>
              <a:rPr lang="ru-RU" sz="2000"/>
              <a:t>проекта</a:t>
            </a:r>
            <a:endParaRPr lang="en-US" sz="2000"/>
          </a:p>
        </p:txBody>
      </p:sp>
      <p:sp>
        <p:nvSpPr>
          <p:cNvPr id="14342" name="Rectangle 8"/>
          <p:cNvSpPr>
            <a:spLocks noChangeArrowheads="1"/>
          </p:cNvSpPr>
          <p:nvPr/>
        </p:nvSpPr>
        <p:spPr bwMode="auto">
          <a:xfrm>
            <a:off x="6064250" y="1868488"/>
            <a:ext cx="2743200" cy="363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285750" indent="-285750">
              <a:spcBef>
                <a:spcPct val="20000"/>
              </a:spcBef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None/>
            </a:pPr>
            <a:r>
              <a:rPr lang="ru-RU" sz="2000"/>
              <a:t>Финансовые анализы</a:t>
            </a:r>
            <a:endParaRPr lang="en-US" sz="2000"/>
          </a:p>
        </p:txBody>
      </p:sp>
      <p:sp>
        <p:nvSpPr>
          <p:cNvPr id="14343" name="Rectangle 9"/>
          <p:cNvSpPr>
            <a:spLocks noChangeArrowheads="1"/>
          </p:cNvSpPr>
          <p:nvPr/>
        </p:nvSpPr>
        <p:spPr bwMode="auto">
          <a:xfrm>
            <a:off x="3062288" y="5653088"/>
            <a:ext cx="3186112" cy="363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285750" indent="-285750">
              <a:spcBef>
                <a:spcPct val="20000"/>
              </a:spcBef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None/>
            </a:pPr>
            <a:r>
              <a:rPr lang="ru-RU" sz="2000"/>
              <a:t>Финансирование проекта</a:t>
            </a:r>
            <a:endParaRPr lang="en-US" sz="2000"/>
          </a:p>
        </p:txBody>
      </p:sp>
      <p:sp>
        <p:nvSpPr>
          <p:cNvPr id="14344" name="Rectangle 10"/>
          <p:cNvSpPr>
            <a:spLocks noChangeArrowheads="1"/>
          </p:cNvSpPr>
          <p:nvPr/>
        </p:nvSpPr>
        <p:spPr bwMode="auto">
          <a:xfrm>
            <a:off x="6165850" y="4702175"/>
            <a:ext cx="2325688" cy="363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285750" indent="-285750">
              <a:spcBef>
                <a:spcPct val="20000"/>
              </a:spcBef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None/>
            </a:pPr>
            <a:r>
              <a:rPr lang="ru-RU" sz="2000"/>
              <a:t>Общая концепция</a:t>
            </a:r>
            <a:endParaRPr lang="en-US" sz="2000"/>
          </a:p>
        </p:txBody>
      </p:sp>
      <p:sp>
        <p:nvSpPr>
          <p:cNvPr id="14345" name="Rectangle 11"/>
          <p:cNvSpPr>
            <a:spLocks noChangeArrowheads="1"/>
          </p:cNvSpPr>
          <p:nvPr/>
        </p:nvSpPr>
        <p:spPr bwMode="auto">
          <a:xfrm>
            <a:off x="1189038" y="4545013"/>
            <a:ext cx="1787525" cy="73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285750" indent="-285750">
              <a:spcBef>
                <a:spcPct val="20000"/>
              </a:spcBef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30000"/>
              </a:spcBef>
              <a:buFontTx/>
              <a:buNone/>
            </a:pPr>
            <a:r>
              <a:rPr lang="ru-RU" sz="2000"/>
              <a:t>Комплектная </a:t>
            </a:r>
          </a:p>
          <a:p>
            <a:pPr algn="r">
              <a:lnSpc>
                <a:spcPct val="90000"/>
              </a:lnSpc>
              <a:spcBef>
                <a:spcPct val="30000"/>
              </a:spcBef>
              <a:buFontTx/>
              <a:buNone/>
            </a:pPr>
            <a:r>
              <a:rPr lang="ru-RU" sz="2000"/>
              <a:t>поставка</a:t>
            </a:r>
            <a:endParaRPr lang="en-US" sz="2000"/>
          </a:p>
        </p:txBody>
      </p:sp>
      <p:sp>
        <p:nvSpPr>
          <p:cNvPr id="14346" name="Rectangle 12"/>
          <p:cNvSpPr>
            <a:spLocks noChangeArrowheads="1"/>
          </p:cNvSpPr>
          <p:nvPr/>
        </p:nvSpPr>
        <p:spPr bwMode="auto">
          <a:xfrm>
            <a:off x="1547813" y="1430338"/>
            <a:ext cx="1762125" cy="73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285750" indent="-285750">
              <a:spcBef>
                <a:spcPct val="20000"/>
              </a:spcBef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30000"/>
              </a:spcBef>
              <a:buFontTx/>
              <a:buNone/>
            </a:pPr>
            <a:r>
              <a:rPr lang="ru-RU" sz="2000"/>
              <a:t>Комплектные</a:t>
            </a:r>
          </a:p>
          <a:p>
            <a:pPr algn="r">
              <a:lnSpc>
                <a:spcPct val="90000"/>
              </a:lnSpc>
              <a:spcBef>
                <a:spcPct val="30000"/>
              </a:spcBef>
              <a:buFontTx/>
              <a:buNone/>
            </a:pPr>
            <a:r>
              <a:rPr lang="ru-RU" sz="2000"/>
              <a:t>услуги</a:t>
            </a:r>
            <a:endParaRPr lang="en-US" sz="2000"/>
          </a:p>
        </p:txBody>
      </p:sp>
      <p:sp>
        <p:nvSpPr>
          <p:cNvPr id="14347" name="Rectangle 13"/>
          <p:cNvSpPr>
            <a:spLocks noChangeArrowheads="1"/>
          </p:cNvSpPr>
          <p:nvPr/>
        </p:nvSpPr>
        <p:spPr bwMode="auto">
          <a:xfrm>
            <a:off x="3630613" y="3311525"/>
            <a:ext cx="1951037" cy="417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285750" indent="-285750">
              <a:spcBef>
                <a:spcPct val="20000"/>
              </a:spcBef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None/>
            </a:pPr>
            <a:r>
              <a:rPr lang="en-US" sz="2400"/>
              <a:t>“</a:t>
            </a:r>
            <a:r>
              <a:rPr lang="ru-RU" sz="2400"/>
              <a:t>Под ключ</a:t>
            </a:r>
            <a:r>
              <a:rPr lang="en-US" sz="2400"/>
              <a:t>”</a:t>
            </a:r>
          </a:p>
        </p:txBody>
      </p:sp>
      <p:sp>
        <p:nvSpPr>
          <p:cNvPr id="46" name="Freeform 14"/>
          <p:cNvSpPr>
            <a:spLocks/>
          </p:cNvSpPr>
          <p:nvPr/>
        </p:nvSpPr>
        <p:spPr bwMode="auto">
          <a:xfrm>
            <a:off x="2925763" y="1506538"/>
            <a:ext cx="1473200" cy="1503362"/>
          </a:xfrm>
          <a:custGeom>
            <a:avLst/>
            <a:gdLst>
              <a:gd name="T0" fmla="*/ 0 w 877"/>
              <a:gd name="T1" fmla="*/ 750 h 947"/>
              <a:gd name="T2" fmla="*/ 8 w 877"/>
              <a:gd name="T3" fmla="*/ 730 h 947"/>
              <a:gd name="T4" fmla="*/ 17 w 877"/>
              <a:gd name="T5" fmla="*/ 714 h 947"/>
              <a:gd name="T6" fmla="*/ 25 w 877"/>
              <a:gd name="T7" fmla="*/ 697 h 947"/>
              <a:gd name="T8" fmla="*/ 32 w 877"/>
              <a:gd name="T9" fmla="*/ 681 h 947"/>
              <a:gd name="T10" fmla="*/ 42 w 877"/>
              <a:gd name="T11" fmla="*/ 664 h 947"/>
              <a:gd name="T12" fmla="*/ 52 w 877"/>
              <a:gd name="T13" fmla="*/ 647 h 947"/>
              <a:gd name="T14" fmla="*/ 61 w 877"/>
              <a:gd name="T15" fmla="*/ 631 h 947"/>
              <a:gd name="T16" fmla="*/ 69 w 877"/>
              <a:gd name="T17" fmla="*/ 614 h 947"/>
              <a:gd name="T18" fmla="*/ 82 w 877"/>
              <a:gd name="T19" fmla="*/ 595 h 947"/>
              <a:gd name="T20" fmla="*/ 95 w 877"/>
              <a:gd name="T21" fmla="*/ 575 h 947"/>
              <a:gd name="T22" fmla="*/ 105 w 877"/>
              <a:gd name="T23" fmla="*/ 559 h 947"/>
              <a:gd name="T24" fmla="*/ 118 w 877"/>
              <a:gd name="T25" fmla="*/ 543 h 947"/>
              <a:gd name="T26" fmla="*/ 130 w 877"/>
              <a:gd name="T27" fmla="*/ 525 h 947"/>
              <a:gd name="T28" fmla="*/ 144 w 877"/>
              <a:gd name="T29" fmla="*/ 506 h 947"/>
              <a:gd name="T30" fmla="*/ 158 w 877"/>
              <a:gd name="T31" fmla="*/ 488 h 947"/>
              <a:gd name="T32" fmla="*/ 173 w 877"/>
              <a:gd name="T33" fmla="*/ 470 h 947"/>
              <a:gd name="T34" fmla="*/ 186 w 877"/>
              <a:gd name="T35" fmla="*/ 456 h 947"/>
              <a:gd name="T36" fmla="*/ 202 w 877"/>
              <a:gd name="T37" fmla="*/ 435 h 947"/>
              <a:gd name="T38" fmla="*/ 217 w 877"/>
              <a:gd name="T39" fmla="*/ 418 h 947"/>
              <a:gd name="T40" fmla="*/ 232 w 877"/>
              <a:gd name="T41" fmla="*/ 403 h 947"/>
              <a:gd name="T42" fmla="*/ 249 w 877"/>
              <a:gd name="T43" fmla="*/ 386 h 947"/>
              <a:gd name="T44" fmla="*/ 261 w 877"/>
              <a:gd name="T45" fmla="*/ 374 h 947"/>
              <a:gd name="T46" fmla="*/ 277 w 877"/>
              <a:gd name="T47" fmla="*/ 359 h 947"/>
              <a:gd name="T48" fmla="*/ 293 w 877"/>
              <a:gd name="T49" fmla="*/ 344 h 947"/>
              <a:gd name="T50" fmla="*/ 312 w 877"/>
              <a:gd name="T51" fmla="*/ 329 h 947"/>
              <a:gd name="T52" fmla="*/ 328 w 877"/>
              <a:gd name="T53" fmla="*/ 315 h 947"/>
              <a:gd name="T54" fmla="*/ 346 w 877"/>
              <a:gd name="T55" fmla="*/ 299 h 947"/>
              <a:gd name="T56" fmla="*/ 367 w 877"/>
              <a:gd name="T57" fmla="*/ 283 h 947"/>
              <a:gd name="T58" fmla="*/ 387 w 877"/>
              <a:gd name="T59" fmla="*/ 268 h 947"/>
              <a:gd name="T60" fmla="*/ 408 w 877"/>
              <a:gd name="T61" fmla="*/ 252 h 947"/>
              <a:gd name="T62" fmla="*/ 429 w 877"/>
              <a:gd name="T63" fmla="*/ 237 h 947"/>
              <a:gd name="T64" fmla="*/ 451 w 877"/>
              <a:gd name="T65" fmla="*/ 224 h 947"/>
              <a:gd name="T66" fmla="*/ 475 w 877"/>
              <a:gd name="T67" fmla="*/ 209 h 947"/>
              <a:gd name="T68" fmla="*/ 496 w 877"/>
              <a:gd name="T69" fmla="*/ 199 h 947"/>
              <a:gd name="T70" fmla="*/ 515 w 877"/>
              <a:gd name="T71" fmla="*/ 187 h 947"/>
              <a:gd name="T72" fmla="*/ 537 w 877"/>
              <a:gd name="T73" fmla="*/ 177 h 947"/>
              <a:gd name="T74" fmla="*/ 553 w 877"/>
              <a:gd name="T75" fmla="*/ 170 h 947"/>
              <a:gd name="T76" fmla="*/ 486 w 877"/>
              <a:gd name="T77" fmla="*/ 0 h 947"/>
              <a:gd name="T78" fmla="*/ 876 w 877"/>
              <a:gd name="T79" fmla="*/ 242 h 947"/>
              <a:gd name="T80" fmla="*/ 774 w 877"/>
              <a:gd name="T81" fmla="*/ 743 h 947"/>
              <a:gd name="T82" fmla="*/ 711 w 877"/>
              <a:gd name="T83" fmla="*/ 595 h 947"/>
              <a:gd name="T84" fmla="*/ 685 w 877"/>
              <a:gd name="T85" fmla="*/ 608 h 947"/>
              <a:gd name="T86" fmla="*/ 660 w 877"/>
              <a:gd name="T87" fmla="*/ 623 h 947"/>
              <a:gd name="T88" fmla="*/ 633 w 877"/>
              <a:gd name="T89" fmla="*/ 641 h 947"/>
              <a:gd name="T90" fmla="*/ 604 w 877"/>
              <a:gd name="T91" fmla="*/ 662 h 947"/>
              <a:gd name="T92" fmla="*/ 582 w 877"/>
              <a:gd name="T93" fmla="*/ 680 h 947"/>
              <a:gd name="T94" fmla="*/ 558 w 877"/>
              <a:gd name="T95" fmla="*/ 701 h 947"/>
              <a:gd name="T96" fmla="*/ 536 w 877"/>
              <a:gd name="T97" fmla="*/ 720 h 947"/>
              <a:gd name="T98" fmla="*/ 517 w 877"/>
              <a:gd name="T99" fmla="*/ 741 h 947"/>
              <a:gd name="T100" fmla="*/ 499 w 877"/>
              <a:gd name="T101" fmla="*/ 763 h 947"/>
              <a:gd name="T102" fmla="*/ 479 w 877"/>
              <a:gd name="T103" fmla="*/ 786 h 947"/>
              <a:gd name="T104" fmla="*/ 462 w 877"/>
              <a:gd name="T105" fmla="*/ 809 h 947"/>
              <a:gd name="T106" fmla="*/ 445 w 877"/>
              <a:gd name="T107" fmla="*/ 833 h 947"/>
              <a:gd name="T108" fmla="*/ 430 w 877"/>
              <a:gd name="T109" fmla="*/ 853 h 947"/>
              <a:gd name="T110" fmla="*/ 414 w 877"/>
              <a:gd name="T111" fmla="*/ 881 h 947"/>
              <a:gd name="T112" fmla="*/ 400 w 877"/>
              <a:gd name="T113" fmla="*/ 907 h 947"/>
              <a:gd name="T114" fmla="*/ 392 w 877"/>
              <a:gd name="T115" fmla="*/ 927 h 947"/>
              <a:gd name="T116" fmla="*/ 382 w 877"/>
              <a:gd name="T117" fmla="*/ 946 h 947"/>
              <a:gd name="T118" fmla="*/ 0 w 877"/>
              <a:gd name="T119" fmla="*/ 750 h 9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77" h="947">
                <a:moveTo>
                  <a:pt x="0" y="750"/>
                </a:moveTo>
                <a:lnTo>
                  <a:pt x="8" y="730"/>
                </a:lnTo>
                <a:lnTo>
                  <a:pt x="17" y="714"/>
                </a:lnTo>
                <a:lnTo>
                  <a:pt x="25" y="697"/>
                </a:lnTo>
                <a:lnTo>
                  <a:pt x="32" y="681"/>
                </a:lnTo>
                <a:lnTo>
                  <a:pt x="42" y="664"/>
                </a:lnTo>
                <a:lnTo>
                  <a:pt x="52" y="647"/>
                </a:lnTo>
                <a:lnTo>
                  <a:pt x="61" y="631"/>
                </a:lnTo>
                <a:lnTo>
                  <a:pt x="69" y="614"/>
                </a:lnTo>
                <a:lnTo>
                  <a:pt x="82" y="595"/>
                </a:lnTo>
                <a:lnTo>
                  <a:pt x="95" y="575"/>
                </a:lnTo>
                <a:lnTo>
                  <a:pt x="105" y="559"/>
                </a:lnTo>
                <a:lnTo>
                  <a:pt x="118" y="543"/>
                </a:lnTo>
                <a:lnTo>
                  <a:pt x="130" y="525"/>
                </a:lnTo>
                <a:lnTo>
                  <a:pt x="144" y="506"/>
                </a:lnTo>
                <a:lnTo>
                  <a:pt x="158" y="488"/>
                </a:lnTo>
                <a:lnTo>
                  <a:pt x="173" y="470"/>
                </a:lnTo>
                <a:lnTo>
                  <a:pt x="186" y="456"/>
                </a:lnTo>
                <a:lnTo>
                  <a:pt x="202" y="435"/>
                </a:lnTo>
                <a:lnTo>
                  <a:pt x="217" y="418"/>
                </a:lnTo>
                <a:lnTo>
                  <a:pt x="232" y="403"/>
                </a:lnTo>
                <a:lnTo>
                  <a:pt x="249" y="386"/>
                </a:lnTo>
                <a:lnTo>
                  <a:pt x="261" y="374"/>
                </a:lnTo>
                <a:lnTo>
                  <a:pt x="277" y="359"/>
                </a:lnTo>
                <a:lnTo>
                  <a:pt x="293" y="344"/>
                </a:lnTo>
                <a:lnTo>
                  <a:pt x="312" y="329"/>
                </a:lnTo>
                <a:lnTo>
                  <a:pt x="328" y="315"/>
                </a:lnTo>
                <a:lnTo>
                  <a:pt x="346" y="299"/>
                </a:lnTo>
                <a:lnTo>
                  <a:pt x="367" y="283"/>
                </a:lnTo>
                <a:lnTo>
                  <a:pt x="387" y="268"/>
                </a:lnTo>
                <a:lnTo>
                  <a:pt x="408" y="252"/>
                </a:lnTo>
                <a:lnTo>
                  <a:pt x="429" y="237"/>
                </a:lnTo>
                <a:lnTo>
                  <a:pt x="451" y="224"/>
                </a:lnTo>
                <a:lnTo>
                  <a:pt x="475" y="209"/>
                </a:lnTo>
                <a:lnTo>
                  <a:pt x="496" y="199"/>
                </a:lnTo>
                <a:lnTo>
                  <a:pt x="515" y="187"/>
                </a:lnTo>
                <a:lnTo>
                  <a:pt x="537" y="177"/>
                </a:lnTo>
                <a:lnTo>
                  <a:pt x="553" y="170"/>
                </a:lnTo>
                <a:lnTo>
                  <a:pt x="486" y="0"/>
                </a:lnTo>
                <a:lnTo>
                  <a:pt x="876" y="242"/>
                </a:lnTo>
                <a:lnTo>
                  <a:pt x="774" y="743"/>
                </a:lnTo>
                <a:lnTo>
                  <a:pt x="711" y="595"/>
                </a:lnTo>
                <a:lnTo>
                  <a:pt x="685" y="608"/>
                </a:lnTo>
                <a:lnTo>
                  <a:pt x="660" y="623"/>
                </a:lnTo>
                <a:lnTo>
                  <a:pt x="633" y="641"/>
                </a:lnTo>
                <a:lnTo>
                  <a:pt x="604" y="662"/>
                </a:lnTo>
                <a:lnTo>
                  <a:pt x="582" y="680"/>
                </a:lnTo>
                <a:lnTo>
                  <a:pt x="558" y="701"/>
                </a:lnTo>
                <a:lnTo>
                  <a:pt x="536" y="720"/>
                </a:lnTo>
                <a:lnTo>
                  <a:pt x="517" y="741"/>
                </a:lnTo>
                <a:lnTo>
                  <a:pt x="499" y="763"/>
                </a:lnTo>
                <a:lnTo>
                  <a:pt x="479" y="786"/>
                </a:lnTo>
                <a:lnTo>
                  <a:pt x="462" y="809"/>
                </a:lnTo>
                <a:lnTo>
                  <a:pt x="445" y="833"/>
                </a:lnTo>
                <a:lnTo>
                  <a:pt x="430" y="853"/>
                </a:lnTo>
                <a:lnTo>
                  <a:pt x="414" y="881"/>
                </a:lnTo>
                <a:lnTo>
                  <a:pt x="400" y="907"/>
                </a:lnTo>
                <a:lnTo>
                  <a:pt x="392" y="927"/>
                </a:lnTo>
                <a:lnTo>
                  <a:pt x="382" y="946"/>
                </a:lnTo>
                <a:lnTo>
                  <a:pt x="0" y="750"/>
                </a:lnTo>
              </a:path>
            </a:pathLst>
          </a:custGeom>
          <a:gradFill rotWithShape="0">
            <a:gsLst>
              <a:gs pos="0">
                <a:schemeClr val="accent1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path path="rect">
              <a:fillToRect l="100000" b="100000"/>
            </a:path>
          </a:gra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10000"/>
              </a:lnSpc>
              <a:spcBef>
                <a:spcPct val="50000"/>
              </a:spcBef>
              <a:defRPr/>
            </a:pPr>
            <a:endParaRPr lang="cs-CZ">
              <a:latin typeface="Arial" charset="0"/>
              <a:cs typeface="Arial" charset="0"/>
            </a:endParaRPr>
          </a:p>
        </p:txBody>
      </p:sp>
      <p:sp>
        <p:nvSpPr>
          <p:cNvPr id="14349" name="Freeform 15"/>
          <p:cNvSpPr>
            <a:spLocks/>
          </p:cNvSpPr>
          <p:nvPr/>
        </p:nvSpPr>
        <p:spPr bwMode="auto">
          <a:xfrm>
            <a:off x="2563813" y="2565400"/>
            <a:ext cx="1295400" cy="1673225"/>
          </a:xfrm>
          <a:custGeom>
            <a:avLst/>
            <a:gdLst>
              <a:gd name="T0" fmla="*/ 2147483646 w 771"/>
              <a:gd name="T1" fmla="*/ 2147483646 h 1054"/>
              <a:gd name="T2" fmla="*/ 2147483646 w 771"/>
              <a:gd name="T3" fmla="*/ 2147483646 h 1054"/>
              <a:gd name="T4" fmla="*/ 2147483646 w 771"/>
              <a:gd name="T5" fmla="*/ 2147483646 h 1054"/>
              <a:gd name="T6" fmla="*/ 2147483646 w 771"/>
              <a:gd name="T7" fmla="*/ 2147483646 h 1054"/>
              <a:gd name="T8" fmla="*/ 2147483646 w 771"/>
              <a:gd name="T9" fmla="*/ 2147483646 h 1054"/>
              <a:gd name="T10" fmla="*/ 2147483646 w 771"/>
              <a:gd name="T11" fmla="*/ 2147483646 h 1054"/>
              <a:gd name="T12" fmla="*/ 2147483646 w 771"/>
              <a:gd name="T13" fmla="*/ 2147483646 h 1054"/>
              <a:gd name="T14" fmla="*/ 2147483646 w 771"/>
              <a:gd name="T15" fmla="*/ 2147483646 h 1054"/>
              <a:gd name="T16" fmla="*/ 2147483646 w 771"/>
              <a:gd name="T17" fmla="*/ 2147483646 h 1054"/>
              <a:gd name="T18" fmla="*/ 2147483646 w 771"/>
              <a:gd name="T19" fmla="*/ 2147483646 h 1054"/>
              <a:gd name="T20" fmla="*/ 2147483646 w 771"/>
              <a:gd name="T21" fmla="*/ 2147483646 h 1054"/>
              <a:gd name="T22" fmla="*/ 2147483646 w 771"/>
              <a:gd name="T23" fmla="*/ 2147483646 h 1054"/>
              <a:gd name="T24" fmla="*/ 2147483646 w 771"/>
              <a:gd name="T25" fmla="*/ 2147483646 h 1054"/>
              <a:gd name="T26" fmla="*/ 2147483646 w 771"/>
              <a:gd name="T27" fmla="*/ 2147483646 h 1054"/>
              <a:gd name="T28" fmla="*/ 2147483646 w 771"/>
              <a:gd name="T29" fmla="*/ 2147483646 h 1054"/>
              <a:gd name="T30" fmla="*/ 2147483646 w 771"/>
              <a:gd name="T31" fmla="*/ 2147483646 h 1054"/>
              <a:gd name="T32" fmla="*/ 2147483646 w 771"/>
              <a:gd name="T33" fmla="*/ 2147483646 h 1054"/>
              <a:gd name="T34" fmla="*/ 2147483646 w 771"/>
              <a:gd name="T35" fmla="*/ 2147483646 h 1054"/>
              <a:gd name="T36" fmla="*/ 2147483646 w 771"/>
              <a:gd name="T37" fmla="*/ 2147483646 h 1054"/>
              <a:gd name="T38" fmla="*/ 2147483646 w 771"/>
              <a:gd name="T39" fmla="*/ 2147483646 h 1054"/>
              <a:gd name="T40" fmla="*/ 2147483646 w 771"/>
              <a:gd name="T41" fmla="*/ 2147483646 h 1054"/>
              <a:gd name="T42" fmla="*/ 2147483646 w 771"/>
              <a:gd name="T43" fmla="*/ 2147483646 h 1054"/>
              <a:gd name="T44" fmla="*/ 2147483646 w 771"/>
              <a:gd name="T45" fmla="*/ 2147483646 h 1054"/>
              <a:gd name="T46" fmla="*/ 2147483646 w 771"/>
              <a:gd name="T47" fmla="*/ 2147483646 h 1054"/>
              <a:gd name="T48" fmla="*/ 2147483646 w 771"/>
              <a:gd name="T49" fmla="*/ 2147483646 h 1054"/>
              <a:gd name="T50" fmla="*/ 2147483646 w 771"/>
              <a:gd name="T51" fmla="*/ 2147483646 h 1054"/>
              <a:gd name="T52" fmla="*/ 2147483646 w 771"/>
              <a:gd name="T53" fmla="*/ 2147483646 h 1054"/>
              <a:gd name="T54" fmla="*/ 2147483646 w 771"/>
              <a:gd name="T55" fmla="*/ 2147483646 h 1054"/>
              <a:gd name="T56" fmla="*/ 2147483646 w 771"/>
              <a:gd name="T57" fmla="*/ 2147483646 h 1054"/>
              <a:gd name="T58" fmla="*/ 2147483646 w 771"/>
              <a:gd name="T59" fmla="*/ 2147483646 h 1054"/>
              <a:gd name="T60" fmla="*/ 2147483646 w 771"/>
              <a:gd name="T61" fmla="*/ 2147483646 h 1054"/>
              <a:gd name="T62" fmla="*/ 2147483646 w 771"/>
              <a:gd name="T63" fmla="*/ 2147483646 h 1054"/>
              <a:gd name="T64" fmla="*/ 2147483646 w 771"/>
              <a:gd name="T65" fmla="*/ 2147483646 h 1054"/>
              <a:gd name="T66" fmla="*/ 2147483646 w 771"/>
              <a:gd name="T67" fmla="*/ 2147483646 h 1054"/>
              <a:gd name="T68" fmla="*/ 2147483646 w 771"/>
              <a:gd name="T69" fmla="*/ 2147483646 h 1054"/>
              <a:gd name="T70" fmla="*/ 2147483646 w 771"/>
              <a:gd name="T71" fmla="*/ 2147483646 h 1054"/>
              <a:gd name="T72" fmla="*/ 2147483646 w 771"/>
              <a:gd name="T73" fmla="*/ 2147483646 h 1054"/>
              <a:gd name="T74" fmla="*/ 2147483646 w 771"/>
              <a:gd name="T75" fmla="*/ 2147483646 h 1054"/>
              <a:gd name="T76" fmla="*/ 2147483646 w 771"/>
              <a:gd name="T77" fmla="*/ 2147483646 h 1054"/>
              <a:gd name="T78" fmla="*/ 2147483646 w 771"/>
              <a:gd name="T79" fmla="*/ 2147483646 h 1054"/>
              <a:gd name="T80" fmla="*/ 2147483646 w 771"/>
              <a:gd name="T81" fmla="*/ 2147483646 h 1054"/>
              <a:gd name="T82" fmla="*/ 2147483646 w 771"/>
              <a:gd name="T83" fmla="*/ 2147483646 h 1054"/>
              <a:gd name="T84" fmla="*/ 2147483646 w 771"/>
              <a:gd name="T85" fmla="*/ 2147483646 h 1054"/>
              <a:gd name="T86" fmla="*/ 2147483646 w 771"/>
              <a:gd name="T87" fmla="*/ 2147483646 h 1054"/>
              <a:gd name="T88" fmla="*/ 2147483646 w 771"/>
              <a:gd name="T89" fmla="*/ 2147483646 h 1054"/>
              <a:gd name="T90" fmla="*/ 2147483646 w 771"/>
              <a:gd name="T91" fmla="*/ 2147483646 h 1054"/>
              <a:gd name="T92" fmla="*/ 2147483646 w 771"/>
              <a:gd name="T93" fmla="*/ 2147483646 h 1054"/>
              <a:gd name="T94" fmla="*/ 2147483646 w 771"/>
              <a:gd name="T95" fmla="*/ 2147483646 h 1054"/>
              <a:gd name="T96" fmla="*/ 2147483646 w 771"/>
              <a:gd name="T97" fmla="*/ 2147483646 h 1054"/>
              <a:gd name="T98" fmla="*/ 2147483646 w 771"/>
              <a:gd name="T99" fmla="*/ 2147483646 h 1054"/>
              <a:gd name="T100" fmla="*/ 2147483646 w 771"/>
              <a:gd name="T101" fmla="*/ 2147483646 h 1054"/>
              <a:gd name="T102" fmla="*/ 2147483646 w 771"/>
              <a:gd name="T103" fmla="*/ 2147483646 h 1054"/>
              <a:gd name="T104" fmla="*/ 2147483646 w 771"/>
              <a:gd name="T105" fmla="*/ 2147483646 h 1054"/>
              <a:gd name="T106" fmla="*/ 2147483646 w 771"/>
              <a:gd name="T107" fmla="*/ 2147483646 h 1054"/>
              <a:gd name="T108" fmla="*/ 0 w 771"/>
              <a:gd name="T109" fmla="*/ 2147483646 h 1054"/>
              <a:gd name="T110" fmla="*/ 2147483646 w 771"/>
              <a:gd name="T111" fmla="*/ 0 h 1054"/>
              <a:gd name="T112" fmla="*/ 2147483646 w 771"/>
              <a:gd name="T113" fmla="*/ 2147483646 h 105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71" h="1054">
                <a:moveTo>
                  <a:pt x="770" y="435"/>
                </a:moveTo>
                <a:lnTo>
                  <a:pt x="575" y="349"/>
                </a:lnTo>
                <a:lnTo>
                  <a:pt x="566" y="368"/>
                </a:lnTo>
                <a:lnTo>
                  <a:pt x="563" y="388"/>
                </a:lnTo>
                <a:lnTo>
                  <a:pt x="556" y="408"/>
                </a:lnTo>
                <a:lnTo>
                  <a:pt x="552" y="430"/>
                </a:lnTo>
                <a:lnTo>
                  <a:pt x="546" y="458"/>
                </a:lnTo>
                <a:lnTo>
                  <a:pt x="543" y="482"/>
                </a:lnTo>
                <a:lnTo>
                  <a:pt x="539" y="507"/>
                </a:lnTo>
                <a:lnTo>
                  <a:pt x="538" y="535"/>
                </a:lnTo>
                <a:lnTo>
                  <a:pt x="535" y="565"/>
                </a:lnTo>
                <a:lnTo>
                  <a:pt x="535" y="617"/>
                </a:lnTo>
                <a:lnTo>
                  <a:pt x="536" y="644"/>
                </a:lnTo>
                <a:lnTo>
                  <a:pt x="538" y="670"/>
                </a:lnTo>
                <a:lnTo>
                  <a:pt x="540" y="695"/>
                </a:lnTo>
                <a:lnTo>
                  <a:pt x="545" y="721"/>
                </a:lnTo>
                <a:lnTo>
                  <a:pt x="550" y="745"/>
                </a:lnTo>
                <a:lnTo>
                  <a:pt x="555" y="774"/>
                </a:lnTo>
                <a:lnTo>
                  <a:pt x="563" y="801"/>
                </a:lnTo>
                <a:lnTo>
                  <a:pt x="195" y="1053"/>
                </a:lnTo>
                <a:lnTo>
                  <a:pt x="187" y="1027"/>
                </a:lnTo>
                <a:lnTo>
                  <a:pt x="179" y="1005"/>
                </a:lnTo>
                <a:lnTo>
                  <a:pt x="172" y="984"/>
                </a:lnTo>
                <a:lnTo>
                  <a:pt x="166" y="961"/>
                </a:lnTo>
                <a:lnTo>
                  <a:pt x="160" y="942"/>
                </a:lnTo>
                <a:lnTo>
                  <a:pt x="153" y="920"/>
                </a:lnTo>
                <a:lnTo>
                  <a:pt x="148" y="899"/>
                </a:lnTo>
                <a:lnTo>
                  <a:pt x="145" y="879"/>
                </a:lnTo>
                <a:lnTo>
                  <a:pt x="140" y="859"/>
                </a:lnTo>
                <a:lnTo>
                  <a:pt x="135" y="834"/>
                </a:lnTo>
                <a:lnTo>
                  <a:pt x="131" y="809"/>
                </a:lnTo>
                <a:lnTo>
                  <a:pt x="126" y="785"/>
                </a:lnTo>
                <a:lnTo>
                  <a:pt x="122" y="762"/>
                </a:lnTo>
                <a:lnTo>
                  <a:pt x="120" y="735"/>
                </a:lnTo>
                <a:lnTo>
                  <a:pt x="117" y="710"/>
                </a:lnTo>
                <a:lnTo>
                  <a:pt x="115" y="681"/>
                </a:lnTo>
                <a:lnTo>
                  <a:pt x="113" y="652"/>
                </a:lnTo>
                <a:lnTo>
                  <a:pt x="113" y="624"/>
                </a:lnTo>
                <a:lnTo>
                  <a:pt x="113" y="595"/>
                </a:lnTo>
                <a:lnTo>
                  <a:pt x="113" y="559"/>
                </a:lnTo>
                <a:lnTo>
                  <a:pt x="114" y="526"/>
                </a:lnTo>
                <a:lnTo>
                  <a:pt x="115" y="504"/>
                </a:lnTo>
                <a:lnTo>
                  <a:pt x="117" y="477"/>
                </a:lnTo>
                <a:lnTo>
                  <a:pt x="120" y="451"/>
                </a:lnTo>
                <a:lnTo>
                  <a:pt x="123" y="421"/>
                </a:lnTo>
                <a:lnTo>
                  <a:pt x="127" y="394"/>
                </a:lnTo>
                <a:lnTo>
                  <a:pt x="132" y="369"/>
                </a:lnTo>
                <a:lnTo>
                  <a:pt x="137" y="339"/>
                </a:lnTo>
                <a:lnTo>
                  <a:pt x="143" y="314"/>
                </a:lnTo>
                <a:lnTo>
                  <a:pt x="148" y="285"/>
                </a:lnTo>
                <a:lnTo>
                  <a:pt x="156" y="261"/>
                </a:lnTo>
                <a:lnTo>
                  <a:pt x="163" y="234"/>
                </a:lnTo>
                <a:lnTo>
                  <a:pt x="172" y="207"/>
                </a:lnTo>
                <a:lnTo>
                  <a:pt x="183" y="174"/>
                </a:lnTo>
                <a:lnTo>
                  <a:pt x="0" y="91"/>
                </a:lnTo>
                <a:lnTo>
                  <a:pt x="480" y="0"/>
                </a:lnTo>
                <a:lnTo>
                  <a:pt x="770" y="435"/>
                </a:lnTo>
              </a:path>
            </a:pathLst>
          </a:custGeom>
          <a:gradFill rotWithShape="0">
            <a:gsLst>
              <a:gs pos="0">
                <a:srgbClr val="66CCFF"/>
              </a:gs>
              <a:gs pos="100000">
                <a:srgbClr val="FFFFFF"/>
              </a:gs>
            </a:gsLst>
            <a:path path="rect">
              <a:fillToRect r="100000" b="100000"/>
            </a:path>
          </a:gra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cs-CZ"/>
          </a:p>
        </p:txBody>
      </p:sp>
      <p:sp>
        <p:nvSpPr>
          <p:cNvPr id="14350" name="Freeform 16"/>
          <p:cNvSpPr>
            <a:spLocks/>
          </p:cNvSpPr>
          <p:nvPr/>
        </p:nvSpPr>
        <p:spPr bwMode="auto">
          <a:xfrm>
            <a:off x="2620963" y="3773488"/>
            <a:ext cx="1474787" cy="1433512"/>
          </a:xfrm>
          <a:custGeom>
            <a:avLst/>
            <a:gdLst>
              <a:gd name="T0" fmla="*/ 2147483646 w 877"/>
              <a:gd name="T1" fmla="*/ 2147483646 h 903"/>
              <a:gd name="T2" fmla="*/ 2147483646 w 877"/>
              <a:gd name="T3" fmla="*/ 2147483646 h 903"/>
              <a:gd name="T4" fmla="*/ 2147483646 w 877"/>
              <a:gd name="T5" fmla="*/ 2147483646 h 903"/>
              <a:gd name="T6" fmla="*/ 2147483646 w 877"/>
              <a:gd name="T7" fmla="*/ 2147483646 h 903"/>
              <a:gd name="T8" fmla="*/ 2147483646 w 877"/>
              <a:gd name="T9" fmla="*/ 2147483646 h 903"/>
              <a:gd name="T10" fmla="*/ 2147483646 w 877"/>
              <a:gd name="T11" fmla="*/ 2147483646 h 903"/>
              <a:gd name="T12" fmla="*/ 2147483646 w 877"/>
              <a:gd name="T13" fmla="*/ 2147483646 h 903"/>
              <a:gd name="T14" fmla="*/ 2147483646 w 877"/>
              <a:gd name="T15" fmla="*/ 2147483646 h 903"/>
              <a:gd name="T16" fmla="*/ 2147483646 w 877"/>
              <a:gd name="T17" fmla="*/ 2147483646 h 903"/>
              <a:gd name="T18" fmla="*/ 2147483646 w 877"/>
              <a:gd name="T19" fmla="*/ 2147483646 h 903"/>
              <a:gd name="T20" fmla="*/ 2147483646 w 877"/>
              <a:gd name="T21" fmla="*/ 2147483646 h 903"/>
              <a:gd name="T22" fmla="*/ 2147483646 w 877"/>
              <a:gd name="T23" fmla="*/ 2147483646 h 903"/>
              <a:gd name="T24" fmla="*/ 2147483646 w 877"/>
              <a:gd name="T25" fmla="*/ 2147483646 h 903"/>
              <a:gd name="T26" fmla="*/ 2147483646 w 877"/>
              <a:gd name="T27" fmla="*/ 2147483646 h 903"/>
              <a:gd name="T28" fmla="*/ 2147483646 w 877"/>
              <a:gd name="T29" fmla="*/ 2147483646 h 903"/>
              <a:gd name="T30" fmla="*/ 2147483646 w 877"/>
              <a:gd name="T31" fmla="*/ 2147483646 h 903"/>
              <a:gd name="T32" fmla="*/ 2147483646 w 877"/>
              <a:gd name="T33" fmla="*/ 2147483646 h 903"/>
              <a:gd name="T34" fmla="*/ 2147483646 w 877"/>
              <a:gd name="T35" fmla="*/ 2147483646 h 903"/>
              <a:gd name="T36" fmla="*/ 2147483646 w 877"/>
              <a:gd name="T37" fmla="*/ 2147483646 h 903"/>
              <a:gd name="T38" fmla="*/ 2147483646 w 877"/>
              <a:gd name="T39" fmla="*/ 2147483646 h 903"/>
              <a:gd name="T40" fmla="*/ 2147483646 w 877"/>
              <a:gd name="T41" fmla="*/ 2147483646 h 903"/>
              <a:gd name="T42" fmla="*/ 2147483646 w 877"/>
              <a:gd name="T43" fmla="*/ 2147483646 h 903"/>
              <a:gd name="T44" fmla="*/ 2147483646 w 877"/>
              <a:gd name="T45" fmla="*/ 2147483646 h 903"/>
              <a:gd name="T46" fmla="*/ 2147483646 w 877"/>
              <a:gd name="T47" fmla="*/ 2147483646 h 903"/>
              <a:gd name="T48" fmla="*/ 2147483646 w 877"/>
              <a:gd name="T49" fmla="*/ 2147483646 h 903"/>
              <a:gd name="T50" fmla="*/ 2147483646 w 877"/>
              <a:gd name="T51" fmla="*/ 2147483646 h 903"/>
              <a:gd name="T52" fmla="*/ 2147483646 w 877"/>
              <a:gd name="T53" fmla="*/ 2147483646 h 903"/>
              <a:gd name="T54" fmla="*/ 2147483646 w 877"/>
              <a:gd name="T55" fmla="*/ 2147483646 h 903"/>
              <a:gd name="T56" fmla="*/ 2147483646 w 877"/>
              <a:gd name="T57" fmla="*/ 2147483646 h 903"/>
              <a:gd name="T58" fmla="*/ 2147483646 w 877"/>
              <a:gd name="T59" fmla="*/ 2147483646 h 903"/>
              <a:gd name="T60" fmla="*/ 2147483646 w 877"/>
              <a:gd name="T61" fmla="*/ 2147483646 h 903"/>
              <a:gd name="T62" fmla="*/ 2147483646 w 877"/>
              <a:gd name="T63" fmla="*/ 2147483646 h 903"/>
              <a:gd name="T64" fmla="*/ 2147483646 w 877"/>
              <a:gd name="T65" fmla="*/ 2147483646 h 903"/>
              <a:gd name="T66" fmla="*/ 2147483646 w 877"/>
              <a:gd name="T67" fmla="*/ 2147483646 h 903"/>
              <a:gd name="T68" fmla="*/ 2147483646 w 877"/>
              <a:gd name="T69" fmla="*/ 2147483646 h 903"/>
              <a:gd name="T70" fmla="*/ 2147483646 w 877"/>
              <a:gd name="T71" fmla="*/ 2147483646 h 903"/>
              <a:gd name="T72" fmla="*/ 2147483646 w 877"/>
              <a:gd name="T73" fmla="*/ 2147483646 h 903"/>
              <a:gd name="T74" fmla="*/ 0 w 877"/>
              <a:gd name="T75" fmla="*/ 2147483646 h 903"/>
              <a:gd name="T76" fmla="*/ 2147483646 w 877"/>
              <a:gd name="T77" fmla="*/ 0 h 903"/>
              <a:gd name="T78" fmla="*/ 2147483646 w 877"/>
              <a:gd name="T79" fmla="*/ 2147483646 h 903"/>
              <a:gd name="T80" fmla="*/ 2147483646 w 877"/>
              <a:gd name="T81" fmla="*/ 2147483646 h 903"/>
              <a:gd name="T82" fmla="*/ 2147483646 w 877"/>
              <a:gd name="T83" fmla="*/ 2147483646 h 903"/>
              <a:gd name="T84" fmla="*/ 2147483646 w 877"/>
              <a:gd name="T85" fmla="*/ 2147483646 h 903"/>
              <a:gd name="T86" fmla="*/ 2147483646 w 877"/>
              <a:gd name="T87" fmla="*/ 2147483646 h 903"/>
              <a:gd name="T88" fmla="*/ 2147483646 w 877"/>
              <a:gd name="T89" fmla="*/ 2147483646 h 903"/>
              <a:gd name="T90" fmla="*/ 2147483646 w 877"/>
              <a:gd name="T91" fmla="*/ 2147483646 h 903"/>
              <a:gd name="T92" fmla="*/ 2147483646 w 877"/>
              <a:gd name="T93" fmla="*/ 2147483646 h 903"/>
              <a:gd name="T94" fmla="*/ 2147483646 w 877"/>
              <a:gd name="T95" fmla="*/ 2147483646 h 903"/>
              <a:gd name="T96" fmla="*/ 2147483646 w 877"/>
              <a:gd name="T97" fmla="*/ 2147483646 h 903"/>
              <a:gd name="T98" fmla="*/ 2147483646 w 877"/>
              <a:gd name="T99" fmla="*/ 2147483646 h 903"/>
              <a:gd name="T100" fmla="*/ 2147483646 w 877"/>
              <a:gd name="T101" fmla="*/ 2147483646 h 903"/>
              <a:gd name="T102" fmla="*/ 2147483646 w 877"/>
              <a:gd name="T103" fmla="*/ 2147483646 h 903"/>
              <a:gd name="T104" fmla="*/ 2147483646 w 877"/>
              <a:gd name="T105" fmla="*/ 2147483646 h 903"/>
              <a:gd name="T106" fmla="*/ 2147483646 w 877"/>
              <a:gd name="T107" fmla="*/ 2147483646 h 903"/>
              <a:gd name="T108" fmla="*/ 2147483646 w 877"/>
              <a:gd name="T109" fmla="*/ 2147483646 h 903"/>
              <a:gd name="T110" fmla="*/ 2147483646 w 877"/>
              <a:gd name="T111" fmla="*/ 2147483646 h 903"/>
              <a:gd name="T112" fmla="*/ 2147483646 w 877"/>
              <a:gd name="T113" fmla="*/ 2147483646 h 903"/>
              <a:gd name="T114" fmla="*/ 2147483646 w 877"/>
              <a:gd name="T115" fmla="*/ 2147483646 h 903"/>
              <a:gd name="T116" fmla="*/ 2147483646 w 877"/>
              <a:gd name="T117" fmla="*/ 2147483646 h 90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877" h="903">
                <a:moveTo>
                  <a:pt x="696" y="902"/>
                </a:moveTo>
                <a:lnTo>
                  <a:pt x="678" y="892"/>
                </a:lnTo>
                <a:lnTo>
                  <a:pt x="663" y="884"/>
                </a:lnTo>
                <a:lnTo>
                  <a:pt x="647" y="875"/>
                </a:lnTo>
                <a:lnTo>
                  <a:pt x="632" y="866"/>
                </a:lnTo>
                <a:lnTo>
                  <a:pt x="617" y="857"/>
                </a:lnTo>
                <a:lnTo>
                  <a:pt x="601" y="847"/>
                </a:lnTo>
                <a:lnTo>
                  <a:pt x="586" y="836"/>
                </a:lnTo>
                <a:lnTo>
                  <a:pt x="570" y="826"/>
                </a:lnTo>
                <a:lnTo>
                  <a:pt x="554" y="813"/>
                </a:lnTo>
                <a:lnTo>
                  <a:pt x="534" y="799"/>
                </a:lnTo>
                <a:lnTo>
                  <a:pt x="520" y="787"/>
                </a:lnTo>
                <a:lnTo>
                  <a:pt x="505" y="774"/>
                </a:lnTo>
                <a:lnTo>
                  <a:pt x="488" y="760"/>
                </a:lnTo>
                <a:lnTo>
                  <a:pt x="470" y="746"/>
                </a:lnTo>
                <a:lnTo>
                  <a:pt x="454" y="731"/>
                </a:lnTo>
                <a:lnTo>
                  <a:pt x="438" y="715"/>
                </a:lnTo>
                <a:lnTo>
                  <a:pt x="424" y="702"/>
                </a:lnTo>
                <a:lnTo>
                  <a:pt x="404" y="682"/>
                </a:lnTo>
                <a:lnTo>
                  <a:pt x="389" y="666"/>
                </a:lnTo>
                <a:lnTo>
                  <a:pt x="376" y="650"/>
                </a:lnTo>
                <a:lnTo>
                  <a:pt x="360" y="632"/>
                </a:lnTo>
                <a:lnTo>
                  <a:pt x="348" y="619"/>
                </a:lnTo>
                <a:lnTo>
                  <a:pt x="335" y="602"/>
                </a:lnTo>
                <a:lnTo>
                  <a:pt x="321" y="585"/>
                </a:lnTo>
                <a:lnTo>
                  <a:pt x="306" y="564"/>
                </a:lnTo>
                <a:lnTo>
                  <a:pt x="294" y="547"/>
                </a:lnTo>
                <a:lnTo>
                  <a:pt x="280" y="527"/>
                </a:lnTo>
                <a:lnTo>
                  <a:pt x="264" y="504"/>
                </a:lnTo>
                <a:lnTo>
                  <a:pt x="250" y="483"/>
                </a:lnTo>
                <a:lnTo>
                  <a:pt x="235" y="460"/>
                </a:lnTo>
                <a:lnTo>
                  <a:pt x="222" y="437"/>
                </a:lnTo>
                <a:lnTo>
                  <a:pt x="210" y="413"/>
                </a:lnTo>
                <a:lnTo>
                  <a:pt x="197" y="387"/>
                </a:lnTo>
                <a:lnTo>
                  <a:pt x="187" y="365"/>
                </a:lnTo>
                <a:lnTo>
                  <a:pt x="176" y="344"/>
                </a:lnTo>
                <a:lnTo>
                  <a:pt x="167" y="321"/>
                </a:lnTo>
                <a:lnTo>
                  <a:pt x="0" y="406"/>
                </a:lnTo>
                <a:lnTo>
                  <a:pt x="275" y="0"/>
                </a:lnTo>
                <a:lnTo>
                  <a:pt x="740" y="44"/>
                </a:lnTo>
                <a:lnTo>
                  <a:pt x="554" y="134"/>
                </a:lnTo>
                <a:lnTo>
                  <a:pt x="565" y="160"/>
                </a:lnTo>
                <a:lnTo>
                  <a:pt x="579" y="187"/>
                </a:lnTo>
                <a:lnTo>
                  <a:pt x="595" y="216"/>
                </a:lnTo>
                <a:lnTo>
                  <a:pt x="615" y="248"/>
                </a:lnTo>
                <a:lnTo>
                  <a:pt x="631" y="272"/>
                </a:lnTo>
                <a:lnTo>
                  <a:pt x="651" y="297"/>
                </a:lnTo>
                <a:lnTo>
                  <a:pt x="668" y="321"/>
                </a:lnTo>
                <a:lnTo>
                  <a:pt x="688" y="342"/>
                </a:lnTo>
                <a:lnTo>
                  <a:pt x="708" y="361"/>
                </a:lnTo>
                <a:lnTo>
                  <a:pt x="729" y="383"/>
                </a:lnTo>
                <a:lnTo>
                  <a:pt x="750" y="402"/>
                </a:lnTo>
                <a:lnTo>
                  <a:pt x="771" y="420"/>
                </a:lnTo>
                <a:lnTo>
                  <a:pt x="791" y="436"/>
                </a:lnTo>
                <a:lnTo>
                  <a:pt x="816" y="453"/>
                </a:lnTo>
                <a:lnTo>
                  <a:pt x="841" y="469"/>
                </a:lnTo>
                <a:lnTo>
                  <a:pt x="859" y="477"/>
                </a:lnTo>
                <a:lnTo>
                  <a:pt x="876" y="487"/>
                </a:lnTo>
                <a:lnTo>
                  <a:pt x="696" y="902"/>
                </a:lnTo>
              </a:path>
            </a:pathLst>
          </a:custGeom>
          <a:gradFill rotWithShape="0">
            <a:gsLst>
              <a:gs pos="0">
                <a:srgbClr val="FF0000"/>
              </a:gs>
              <a:gs pos="100000">
                <a:srgbClr val="FFFFFF"/>
              </a:gs>
            </a:gsLst>
            <a:path path="rect">
              <a:fillToRect r="100000" b="100000"/>
            </a:path>
          </a:gra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cs-CZ"/>
          </a:p>
        </p:txBody>
      </p:sp>
      <p:sp>
        <p:nvSpPr>
          <p:cNvPr id="49" name="Freeform 17"/>
          <p:cNvSpPr>
            <a:spLocks/>
          </p:cNvSpPr>
          <p:nvPr/>
        </p:nvSpPr>
        <p:spPr bwMode="auto">
          <a:xfrm>
            <a:off x="3730625" y="4273550"/>
            <a:ext cx="1600200" cy="1309688"/>
          </a:xfrm>
          <a:custGeom>
            <a:avLst/>
            <a:gdLst>
              <a:gd name="T0" fmla="*/ 381 w 952"/>
              <a:gd name="T1" fmla="*/ 0 h 825"/>
              <a:gd name="T2" fmla="*/ 303 w 952"/>
              <a:gd name="T3" fmla="*/ 212 h 825"/>
              <a:gd name="T4" fmla="*/ 320 w 952"/>
              <a:gd name="T5" fmla="*/ 221 h 825"/>
              <a:gd name="T6" fmla="*/ 338 w 952"/>
              <a:gd name="T7" fmla="*/ 226 h 825"/>
              <a:gd name="T8" fmla="*/ 356 w 952"/>
              <a:gd name="T9" fmla="*/ 232 h 825"/>
              <a:gd name="T10" fmla="*/ 378 w 952"/>
              <a:gd name="T11" fmla="*/ 238 h 825"/>
              <a:gd name="T12" fmla="*/ 402 w 952"/>
              <a:gd name="T13" fmla="*/ 243 h 825"/>
              <a:gd name="T14" fmla="*/ 425 w 952"/>
              <a:gd name="T15" fmla="*/ 246 h 825"/>
              <a:gd name="T16" fmla="*/ 447 w 952"/>
              <a:gd name="T17" fmla="*/ 250 h 825"/>
              <a:gd name="T18" fmla="*/ 473 w 952"/>
              <a:gd name="T19" fmla="*/ 254 h 825"/>
              <a:gd name="T20" fmla="*/ 501 w 952"/>
              <a:gd name="T21" fmla="*/ 256 h 825"/>
              <a:gd name="T22" fmla="*/ 549 w 952"/>
              <a:gd name="T23" fmla="*/ 256 h 825"/>
              <a:gd name="T24" fmla="*/ 575 w 952"/>
              <a:gd name="T25" fmla="*/ 255 h 825"/>
              <a:gd name="T26" fmla="*/ 598 w 952"/>
              <a:gd name="T27" fmla="*/ 253 h 825"/>
              <a:gd name="T28" fmla="*/ 621 w 952"/>
              <a:gd name="T29" fmla="*/ 249 h 825"/>
              <a:gd name="T30" fmla="*/ 646 w 952"/>
              <a:gd name="T31" fmla="*/ 244 h 825"/>
              <a:gd name="T32" fmla="*/ 667 w 952"/>
              <a:gd name="T33" fmla="*/ 240 h 825"/>
              <a:gd name="T34" fmla="*/ 695 w 952"/>
              <a:gd name="T35" fmla="*/ 233 h 825"/>
              <a:gd name="T36" fmla="*/ 719 w 952"/>
              <a:gd name="T37" fmla="*/ 224 h 825"/>
              <a:gd name="T38" fmla="*/ 951 w 952"/>
              <a:gd name="T39" fmla="*/ 622 h 825"/>
              <a:gd name="T40" fmla="*/ 929 w 952"/>
              <a:gd name="T41" fmla="*/ 632 h 825"/>
              <a:gd name="T42" fmla="*/ 907 w 952"/>
              <a:gd name="T43" fmla="*/ 641 h 825"/>
              <a:gd name="T44" fmla="*/ 888 w 952"/>
              <a:gd name="T45" fmla="*/ 648 h 825"/>
              <a:gd name="T46" fmla="*/ 868 w 952"/>
              <a:gd name="T47" fmla="*/ 655 h 825"/>
              <a:gd name="T48" fmla="*/ 849 w 952"/>
              <a:gd name="T49" fmla="*/ 661 h 825"/>
              <a:gd name="T50" fmla="*/ 828 w 952"/>
              <a:gd name="T51" fmla="*/ 669 h 825"/>
              <a:gd name="T52" fmla="*/ 810 w 952"/>
              <a:gd name="T53" fmla="*/ 673 h 825"/>
              <a:gd name="T54" fmla="*/ 791 w 952"/>
              <a:gd name="T55" fmla="*/ 678 h 825"/>
              <a:gd name="T56" fmla="*/ 772 w 952"/>
              <a:gd name="T57" fmla="*/ 683 h 825"/>
              <a:gd name="T58" fmla="*/ 751 w 952"/>
              <a:gd name="T59" fmla="*/ 689 h 825"/>
              <a:gd name="T60" fmla="*/ 726 w 952"/>
              <a:gd name="T61" fmla="*/ 693 h 825"/>
              <a:gd name="T62" fmla="*/ 706 w 952"/>
              <a:gd name="T63" fmla="*/ 698 h 825"/>
              <a:gd name="T64" fmla="*/ 683 w 952"/>
              <a:gd name="T65" fmla="*/ 703 h 825"/>
              <a:gd name="T66" fmla="*/ 660 w 952"/>
              <a:gd name="T67" fmla="*/ 706 h 825"/>
              <a:gd name="T68" fmla="*/ 635 w 952"/>
              <a:gd name="T69" fmla="*/ 709 h 825"/>
              <a:gd name="T70" fmla="*/ 608 w 952"/>
              <a:gd name="T71" fmla="*/ 710 h 825"/>
              <a:gd name="T72" fmla="*/ 582 w 952"/>
              <a:gd name="T73" fmla="*/ 713 h 825"/>
              <a:gd name="T74" fmla="*/ 557 w 952"/>
              <a:gd name="T75" fmla="*/ 713 h 825"/>
              <a:gd name="T76" fmla="*/ 529 w 952"/>
              <a:gd name="T77" fmla="*/ 713 h 825"/>
              <a:gd name="T78" fmla="*/ 496 w 952"/>
              <a:gd name="T79" fmla="*/ 713 h 825"/>
              <a:gd name="T80" fmla="*/ 466 w 952"/>
              <a:gd name="T81" fmla="*/ 711 h 825"/>
              <a:gd name="T82" fmla="*/ 445 w 952"/>
              <a:gd name="T83" fmla="*/ 710 h 825"/>
              <a:gd name="T84" fmla="*/ 421 w 952"/>
              <a:gd name="T85" fmla="*/ 709 h 825"/>
              <a:gd name="T86" fmla="*/ 396 w 952"/>
              <a:gd name="T87" fmla="*/ 706 h 825"/>
              <a:gd name="T88" fmla="*/ 368 w 952"/>
              <a:gd name="T89" fmla="*/ 702 h 825"/>
              <a:gd name="T90" fmla="*/ 344 w 952"/>
              <a:gd name="T91" fmla="*/ 697 h 825"/>
              <a:gd name="T92" fmla="*/ 320 w 952"/>
              <a:gd name="T93" fmla="*/ 693 h 825"/>
              <a:gd name="T94" fmla="*/ 292 w 952"/>
              <a:gd name="T95" fmla="*/ 686 h 825"/>
              <a:gd name="T96" fmla="*/ 271 w 952"/>
              <a:gd name="T97" fmla="*/ 680 h 825"/>
              <a:gd name="T98" fmla="*/ 244 w 952"/>
              <a:gd name="T99" fmla="*/ 673 h 825"/>
              <a:gd name="T100" fmla="*/ 220 w 952"/>
              <a:gd name="T101" fmla="*/ 666 h 825"/>
              <a:gd name="T102" fmla="*/ 196 w 952"/>
              <a:gd name="T103" fmla="*/ 659 h 825"/>
              <a:gd name="T104" fmla="*/ 172 w 952"/>
              <a:gd name="T105" fmla="*/ 649 h 825"/>
              <a:gd name="T106" fmla="*/ 141 w 952"/>
              <a:gd name="T107" fmla="*/ 637 h 825"/>
              <a:gd name="T108" fmla="*/ 69 w 952"/>
              <a:gd name="T109" fmla="*/ 824 h 825"/>
              <a:gd name="T110" fmla="*/ 0 w 952"/>
              <a:gd name="T111" fmla="*/ 295 h 825"/>
              <a:gd name="T112" fmla="*/ 381 w 952"/>
              <a:gd name="T113" fmla="*/ 0 h 8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52" h="825">
                <a:moveTo>
                  <a:pt x="381" y="0"/>
                </a:moveTo>
                <a:lnTo>
                  <a:pt x="303" y="212"/>
                </a:lnTo>
                <a:lnTo>
                  <a:pt x="320" y="221"/>
                </a:lnTo>
                <a:lnTo>
                  <a:pt x="338" y="226"/>
                </a:lnTo>
                <a:lnTo>
                  <a:pt x="356" y="232"/>
                </a:lnTo>
                <a:lnTo>
                  <a:pt x="378" y="238"/>
                </a:lnTo>
                <a:lnTo>
                  <a:pt x="402" y="243"/>
                </a:lnTo>
                <a:lnTo>
                  <a:pt x="425" y="246"/>
                </a:lnTo>
                <a:lnTo>
                  <a:pt x="447" y="250"/>
                </a:lnTo>
                <a:lnTo>
                  <a:pt x="473" y="254"/>
                </a:lnTo>
                <a:lnTo>
                  <a:pt x="501" y="256"/>
                </a:lnTo>
                <a:lnTo>
                  <a:pt x="549" y="256"/>
                </a:lnTo>
                <a:lnTo>
                  <a:pt x="575" y="255"/>
                </a:lnTo>
                <a:lnTo>
                  <a:pt x="598" y="253"/>
                </a:lnTo>
                <a:lnTo>
                  <a:pt x="621" y="249"/>
                </a:lnTo>
                <a:lnTo>
                  <a:pt x="646" y="244"/>
                </a:lnTo>
                <a:lnTo>
                  <a:pt x="667" y="240"/>
                </a:lnTo>
                <a:lnTo>
                  <a:pt x="695" y="233"/>
                </a:lnTo>
                <a:lnTo>
                  <a:pt x="719" y="224"/>
                </a:lnTo>
                <a:lnTo>
                  <a:pt x="951" y="622"/>
                </a:lnTo>
                <a:lnTo>
                  <a:pt x="929" y="632"/>
                </a:lnTo>
                <a:lnTo>
                  <a:pt x="907" y="641"/>
                </a:lnTo>
                <a:lnTo>
                  <a:pt x="888" y="648"/>
                </a:lnTo>
                <a:lnTo>
                  <a:pt x="868" y="655"/>
                </a:lnTo>
                <a:lnTo>
                  <a:pt x="849" y="661"/>
                </a:lnTo>
                <a:lnTo>
                  <a:pt x="828" y="669"/>
                </a:lnTo>
                <a:lnTo>
                  <a:pt x="810" y="673"/>
                </a:lnTo>
                <a:lnTo>
                  <a:pt x="791" y="678"/>
                </a:lnTo>
                <a:lnTo>
                  <a:pt x="772" y="683"/>
                </a:lnTo>
                <a:lnTo>
                  <a:pt x="751" y="689"/>
                </a:lnTo>
                <a:lnTo>
                  <a:pt x="726" y="693"/>
                </a:lnTo>
                <a:lnTo>
                  <a:pt x="706" y="698"/>
                </a:lnTo>
                <a:lnTo>
                  <a:pt x="683" y="703"/>
                </a:lnTo>
                <a:lnTo>
                  <a:pt x="660" y="706"/>
                </a:lnTo>
                <a:lnTo>
                  <a:pt x="635" y="709"/>
                </a:lnTo>
                <a:lnTo>
                  <a:pt x="608" y="710"/>
                </a:lnTo>
                <a:lnTo>
                  <a:pt x="582" y="713"/>
                </a:lnTo>
                <a:lnTo>
                  <a:pt x="557" y="713"/>
                </a:lnTo>
                <a:lnTo>
                  <a:pt x="529" y="713"/>
                </a:lnTo>
                <a:lnTo>
                  <a:pt x="496" y="713"/>
                </a:lnTo>
                <a:lnTo>
                  <a:pt x="466" y="711"/>
                </a:lnTo>
                <a:lnTo>
                  <a:pt x="445" y="710"/>
                </a:lnTo>
                <a:lnTo>
                  <a:pt x="421" y="709"/>
                </a:lnTo>
                <a:lnTo>
                  <a:pt x="396" y="706"/>
                </a:lnTo>
                <a:lnTo>
                  <a:pt x="368" y="702"/>
                </a:lnTo>
                <a:lnTo>
                  <a:pt x="344" y="697"/>
                </a:lnTo>
                <a:lnTo>
                  <a:pt x="320" y="693"/>
                </a:lnTo>
                <a:lnTo>
                  <a:pt x="292" y="686"/>
                </a:lnTo>
                <a:lnTo>
                  <a:pt x="271" y="680"/>
                </a:lnTo>
                <a:lnTo>
                  <a:pt x="244" y="673"/>
                </a:lnTo>
                <a:lnTo>
                  <a:pt x="220" y="666"/>
                </a:lnTo>
                <a:lnTo>
                  <a:pt x="196" y="659"/>
                </a:lnTo>
                <a:lnTo>
                  <a:pt x="172" y="649"/>
                </a:lnTo>
                <a:lnTo>
                  <a:pt x="141" y="637"/>
                </a:lnTo>
                <a:lnTo>
                  <a:pt x="69" y="824"/>
                </a:lnTo>
                <a:lnTo>
                  <a:pt x="0" y="295"/>
                </a:lnTo>
                <a:lnTo>
                  <a:pt x="381" y="0"/>
                </a:lnTo>
              </a:path>
            </a:pathLst>
          </a:custGeom>
          <a:gradFill rotWithShape="0">
            <a:gsLst>
              <a:gs pos="0">
                <a:schemeClr val="accent1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path path="rect">
              <a:fillToRect l="100000" b="100000"/>
            </a:path>
          </a:gra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10000"/>
              </a:lnSpc>
              <a:spcBef>
                <a:spcPct val="50000"/>
              </a:spcBef>
              <a:defRPr/>
            </a:pPr>
            <a:endParaRPr lang="cs-CZ">
              <a:latin typeface="Arial" charset="0"/>
              <a:cs typeface="Arial" charset="0"/>
            </a:endParaRPr>
          </a:p>
        </p:txBody>
      </p:sp>
      <p:sp>
        <p:nvSpPr>
          <p:cNvPr id="14352" name="Freeform 18"/>
          <p:cNvSpPr>
            <a:spLocks/>
          </p:cNvSpPr>
          <p:nvPr/>
        </p:nvSpPr>
        <p:spPr bwMode="auto">
          <a:xfrm>
            <a:off x="4881563" y="4017963"/>
            <a:ext cx="1392237" cy="1420812"/>
          </a:xfrm>
          <a:custGeom>
            <a:avLst/>
            <a:gdLst>
              <a:gd name="T0" fmla="*/ 2147483646 w 828"/>
              <a:gd name="T1" fmla="*/ 2147483646 h 895"/>
              <a:gd name="T2" fmla="*/ 2147483646 w 828"/>
              <a:gd name="T3" fmla="*/ 2147483646 h 895"/>
              <a:gd name="T4" fmla="*/ 2147483646 w 828"/>
              <a:gd name="T5" fmla="*/ 2147483646 h 895"/>
              <a:gd name="T6" fmla="*/ 2147483646 w 828"/>
              <a:gd name="T7" fmla="*/ 2147483646 h 895"/>
              <a:gd name="T8" fmla="*/ 2147483646 w 828"/>
              <a:gd name="T9" fmla="*/ 2147483646 h 895"/>
              <a:gd name="T10" fmla="*/ 2147483646 w 828"/>
              <a:gd name="T11" fmla="*/ 2147483646 h 895"/>
              <a:gd name="T12" fmla="*/ 2147483646 w 828"/>
              <a:gd name="T13" fmla="*/ 2147483646 h 895"/>
              <a:gd name="T14" fmla="*/ 2147483646 w 828"/>
              <a:gd name="T15" fmla="*/ 2147483646 h 895"/>
              <a:gd name="T16" fmla="*/ 2147483646 w 828"/>
              <a:gd name="T17" fmla="*/ 2147483646 h 895"/>
              <a:gd name="T18" fmla="*/ 2147483646 w 828"/>
              <a:gd name="T19" fmla="*/ 2147483646 h 895"/>
              <a:gd name="T20" fmla="*/ 2147483646 w 828"/>
              <a:gd name="T21" fmla="*/ 2147483646 h 895"/>
              <a:gd name="T22" fmla="*/ 2147483646 w 828"/>
              <a:gd name="T23" fmla="*/ 2147483646 h 895"/>
              <a:gd name="T24" fmla="*/ 2147483646 w 828"/>
              <a:gd name="T25" fmla="*/ 2147483646 h 895"/>
              <a:gd name="T26" fmla="*/ 2147483646 w 828"/>
              <a:gd name="T27" fmla="*/ 2147483646 h 895"/>
              <a:gd name="T28" fmla="*/ 2147483646 w 828"/>
              <a:gd name="T29" fmla="*/ 2147483646 h 895"/>
              <a:gd name="T30" fmla="*/ 2147483646 w 828"/>
              <a:gd name="T31" fmla="*/ 2147483646 h 895"/>
              <a:gd name="T32" fmla="*/ 2147483646 w 828"/>
              <a:gd name="T33" fmla="*/ 2147483646 h 895"/>
              <a:gd name="T34" fmla="*/ 2147483646 w 828"/>
              <a:gd name="T35" fmla="*/ 2147483646 h 895"/>
              <a:gd name="T36" fmla="*/ 2147483646 w 828"/>
              <a:gd name="T37" fmla="*/ 2147483646 h 895"/>
              <a:gd name="T38" fmla="*/ 2147483646 w 828"/>
              <a:gd name="T39" fmla="*/ 2147483646 h 895"/>
              <a:gd name="T40" fmla="*/ 2147483646 w 828"/>
              <a:gd name="T41" fmla="*/ 2147483646 h 895"/>
              <a:gd name="T42" fmla="*/ 2147483646 w 828"/>
              <a:gd name="T43" fmla="*/ 2147483646 h 895"/>
              <a:gd name="T44" fmla="*/ 2147483646 w 828"/>
              <a:gd name="T45" fmla="*/ 2147483646 h 895"/>
              <a:gd name="T46" fmla="*/ 2147483646 w 828"/>
              <a:gd name="T47" fmla="*/ 2147483646 h 895"/>
              <a:gd name="T48" fmla="*/ 2147483646 w 828"/>
              <a:gd name="T49" fmla="*/ 2147483646 h 895"/>
              <a:gd name="T50" fmla="*/ 2147483646 w 828"/>
              <a:gd name="T51" fmla="*/ 2147483646 h 895"/>
              <a:gd name="T52" fmla="*/ 2147483646 w 828"/>
              <a:gd name="T53" fmla="*/ 2147483646 h 895"/>
              <a:gd name="T54" fmla="*/ 2147483646 w 828"/>
              <a:gd name="T55" fmla="*/ 2147483646 h 895"/>
              <a:gd name="T56" fmla="*/ 2147483646 w 828"/>
              <a:gd name="T57" fmla="*/ 2147483646 h 895"/>
              <a:gd name="T58" fmla="*/ 2147483646 w 828"/>
              <a:gd name="T59" fmla="*/ 2147483646 h 895"/>
              <a:gd name="T60" fmla="*/ 2147483646 w 828"/>
              <a:gd name="T61" fmla="*/ 2147483646 h 895"/>
              <a:gd name="T62" fmla="*/ 2147483646 w 828"/>
              <a:gd name="T63" fmla="*/ 2147483646 h 895"/>
              <a:gd name="T64" fmla="*/ 2147483646 w 828"/>
              <a:gd name="T65" fmla="*/ 2147483646 h 895"/>
              <a:gd name="T66" fmla="*/ 2147483646 w 828"/>
              <a:gd name="T67" fmla="*/ 2147483646 h 895"/>
              <a:gd name="T68" fmla="*/ 2147483646 w 828"/>
              <a:gd name="T69" fmla="*/ 2147483646 h 895"/>
              <a:gd name="T70" fmla="*/ 0 w 828"/>
              <a:gd name="T71" fmla="*/ 2147483646 h 895"/>
              <a:gd name="T72" fmla="*/ 2147483646 w 828"/>
              <a:gd name="T73" fmla="*/ 2147483646 h 895"/>
              <a:gd name="T74" fmla="*/ 2147483646 w 828"/>
              <a:gd name="T75" fmla="*/ 2147483646 h 895"/>
              <a:gd name="T76" fmla="*/ 2147483646 w 828"/>
              <a:gd name="T77" fmla="*/ 2147483646 h 895"/>
              <a:gd name="T78" fmla="*/ 2147483646 w 828"/>
              <a:gd name="T79" fmla="*/ 2147483646 h 895"/>
              <a:gd name="T80" fmla="*/ 2147483646 w 828"/>
              <a:gd name="T81" fmla="*/ 2147483646 h 895"/>
              <a:gd name="T82" fmla="*/ 2147483646 w 828"/>
              <a:gd name="T83" fmla="*/ 2147483646 h 895"/>
              <a:gd name="T84" fmla="*/ 2147483646 w 828"/>
              <a:gd name="T85" fmla="*/ 2147483646 h 895"/>
              <a:gd name="T86" fmla="*/ 2147483646 w 828"/>
              <a:gd name="T87" fmla="*/ 2147483646 h 895"/>
              <a:gd name="T88" fmla="*/ 2147483646 w 828"/>
              <a:gd name="T89" fmla="*/ 2147483646 h 895"/>
              <a:gd name="T90" fmla="*/ 2147483646 w 828"/>
              <a:gd name="T91" fmla="*/ 2147483646 h 895"/>
              <a:gd name="T92" fmla="*/ 2147483646 w 828"/>
              <a:gd name="T93" fmla="*/ 2147483646 h 895"/>
              <a:gd name="T94" fmla="*/ 2147483646 w 828"/>
              <a:gd name="T95" fmla="*/ 2147483646 h 895"/>
              <a:gd name="T96" fmla="*/ 2147483646 w 828"/>
              <a:gd name="T97" fmla="*/ 2147483646 h 895"/>
              <a:gd name="T98" fmla="*/ 2147483646 w 828"/>
              <a:gd name="T99" fmla="*/ 2147483646 h 895"/>
              <a:gd name="T100" fmla="*/ 2147483646 w 828"/>
              <a:gd name="T101" fmla="*/ 2147483646 h 895"/>
              <a:gd name="T102" fmla="*/ 2147483646 w 828"/>
              <a:gd name="T103" fmla="*/ 2147483646 h 895"/>
              <a:gd name="T104" fmla="*/ 2147483646 w 828"/>
              <a:gd name="T105" fmla="*/ 2147483646 h 895"/>
              <a:gd name="T106" fmla="*/ 2147483646 w 828"/>
              <a:gd name="T107" fmla="*/ 2147483646 h 895"/>
              <a:gd name="T108" fmla="*/ 2147483646 w 828"/>
              <a:gd name="T109" fmla="*/ 0 h 895"/>
              <a:gd name="T110" fmla="*/ 2147483646 w 828"/>
              <a:gd name="T111" fmla="*/ 2147483646 h 89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828" h="895">
                <a:moveTo>
                  <a:pt x="827" y="196"/>
                </a:moveTo>
                <a:lnTo>
                  <a:pt x="817" y="216"/>
                </a:lnTo>
                <a:lnTo>
                  <a:pt x="810" y="232"/>
                </a:lnTo>
                <a:lnTo>
                  <a:pt x="801" y="249"/>
                </a:lnTo>
                <a:lnTo>
                  <a:pt x="795" y="265"/>
                </a:lnTo>
                <a:lnTo>
                  <a:pt x="785" y="282"/>
                </a:lnTo>
                <a:lnTo>
                  <a:pt x="775" y="299"/>
                </a:lnTo>
                <a:lnTo>
                  <a:pt x="766" y="315"/>
                </a:lnTo>
                <a:lnTo>
                  <a:pt x="756" y="332"/>
                </a:lnTo>
                <a:lnTo>
                  <a:pt x="744" y="350"/>
                </a:lnTo>
                <a:lnTo>
                  <a:pt x="731" y="370"/>
                </a:lnTo>
                <a:lnTo>
                  <a:pt x="721" y="385"/>
                </a:lnTo>
                <a:lnTo>
                  <a:pt x="709" y="401"/>
                </a:lnTo>
                <a:lnTo>
                  <a:pt x="695" y="421"/>
                </a:lnTo>
                <a:lnTo>
                  <a:pt x="682" y="440"/>
                </a:lnTo>
                <a:lnTo>
                  <a:pt x="668" y="457"/>
                </a:lnTo>
                <a:lnTo>
                  <a:pt x="653" y="476"/>
                </a:lnTo>
                <a:lnTo>
                  <a:pt x="641" y="490"/>
                </a:lnTo>
                <a:lnTo>
                  <a:pt x="623" y="511"/>
                </a:lnTo>
                <a:lnTo>
                  <a:pt x="608" y="528"/>
                </a:lnTo>
                <a:lnTo>
                  <a:pt x="593" y="543"/>
                </a:lnTo>
                <a:lnTo>
                  <a:pt x="577" y="560"/>
                </a:lnTo>
                <a:lnTo>
                  <a:pt x="565" y="572"/>
                </a:lnTo>
                <a:lnTo>
                  <a:pt x="549" y="587"/>
                </a:lnTo>
                <a:lnTo>
                  <a:pt x="533" y="601"/>
                </a:lnTo>
                <a:lnTo>
                  <a:pt x="515" y="617"/>
                </a:lnTo>
                <a:lnTo>
                  <a:pt x="499" y="631"/>
                </a:lnTo>
                <a:lnTo>
                  <a:pt x="480" y="645"/>
                </a:lnTo>
                <a:lnTo>
                  <a:pt x="458" y="662"/>
                </a:lnTo>
                <a:lnTo>
                  <a:pt x="439" y="677"/>
                </a:lnTo>
                <a:lnTo>
                  <a:pt x="419" y="693"/>
                </a:lnTo>
                <a:lnTo>
                  <a:pt x="397" y="709"/>
                </a:lnTo>
                <a:lnTo>
                  <a:pt x="375" y="722"/>
                </a:lnTo>
                <a:lnTo>
                  <a:pt x="489" y="894"/>
                </a:lnTo>
                <a:lnTo>
                  <a:pt x="34" y="673"/>
                </a:lnTo>
                <a:lnTo>
                  <a:pt x="0" y="237"/>
                </a:lnTo>
                <a:lnTo>
                  <a:pt x="95" y="360"/>
                </a:lnTo>
                <a:lnTo>
                  <a:pt x="116" y="349"/>
                </a:lnTo>
                <a:lnTo>
                  <a:pt x="138" y="337"/>
                </a:lnTo>
                <a:lnTo>
                  <a:pt x="166" y="322"/>
                </a:lnTo>
                <a:lnTo>
                  <a:pt x="193" y="305"/>
                </a:lnTo>
                <a:lnTo>
                  <a:pt x="221" y="284"/>
                </a:lnTo>
                <a:lnTo>
                  <a:pt x="245" y="266"/>
                </a:lnTo>
                <a:lnTo>
                  <a:pt x="268" y="245"/>
                </a:lnTo>
                <a:lnTo>
                  <a:pt x="290" y="224"/>
                </a:lnTo>
                <a:lnTo>
                  <a:pt x="308" y="205"/>
                </a:lnTo>
                <a:lnTo>
                  <a:pt x="327" y="183"/>
                </a:lnTo>
                <a:lnTo>
                  <a:pt x="347" y="158"/>
                </a:lnTo>
                <a:lnTo>
                  <a:pt x="365" y="136"/>
                </a:lnTo>
                <a:lnTo>
                  <a:pt x="382" y="113"/>
                </a:lnTo>
                <a:lnTo>
                  <a:pt x="396" y="93"/>
                </a:lnTo>
                <a:lnTo>
                  <a:pt x="412" y="64"/>
                </a:lnTo>
                <a:lnTo>
                  <a:pt x="427" y="39"/>
                </a:lnTo>
                <a:lnTo>
                  <a:pt x="434" y="19"/>
                </a:lnTo>
                <a:lnTo>
                  <a:pt x="443" y="0"/>
                </a:lnTo>
                <a:lnTo>
                  <a:pt x="827" y="196"/>
                </a:lnTo>
              </a:path>
            </a:pathLst>
          </a:custGeom>
          <a:gradFill rotWithShape="0">
            <a:gsLst>
              <a:gs pos="0">
                <a:srgbClr val="66CCFF"/>
              </a:gs>
              <a:gs pos="100000">
                <a:srgbClr val="FFFFFF"/>
              </a:gs>
            </a:gsLst>
            <a:path path="rect">
              <a:fillToRect l="100000" b="100000"/>
            </a:path>
          </a:gra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cs-CZ"/>
          </a:p>
        </p:txBody>
      </p:sp>
      <p:sp>
        <p:nvSpPr>
          <p:cNvPr id="14353" name="Freeform 19"/>
          <p:cNvSpPr>
            <a:spLocks/>
          </p:cNvSpPr>
          <p:nvPr/>
        </p:nvSpPr>
        <p:spPr bwMode="auto">
          <a:xfrm>
            <a:off x="5346700" y="2749550"/>
            <a:ext cx="1282700" cy="1652588"/>
          </a:xfrm>
          <a:custGeom>
            <a:avLst/>
            <a:gdLst>
              <a:gd name="T0" fmla="*/ 0 w 764"/>
              <a:gd name="T1" fmla="*/ 2147483646 h 1041"/>
              <a:gd name="T2" fmla="*/ 2147483646 w 764"/>
              <a:gd name="T3" fmla="*/ 2147483646 h 1041"/>
              <a:gd name="T4" fmla="*/ 2147483646 w 764"/>
              <a:gd name="T5" fmla="*/ 2147483646 h 1041"/>
              <a:gd name="T6" fmla="*/ 2147483646 w 764"/>
              <a:gd name="T7" fmla="*/ 2147483646 h 1041"/>
              <a:gd name="T8" fmla="*/ 2147483646 w 764"/>
              <a:gd name="T9" fmla="*/ 2147483646 h 1041"/>
              <a:gd name="T10" fmla="*/ 2147483646 w 764"/>
              <a:gd name="T11" fmla="*/ 2147483646 h 1041"/>
              <a:gd name="T12" fmla="*/ 2147483646 w 764"/>
              <a:gd name="T13" fmla="*/ 2147483646 h 1041"/>
              <a:gd name="T14" fmla="*/ 2147483646 w 764"/>
              <a:gd name="T15" fmla="*/ 2147483646 h 1041"/>
              <a:gd name="T16" fmla="*/ 2147483646 w 764"/>
              <a:gd name="T17" fmla="*/ 2147483646 h 1041"/>
              <a:gd name="T18" fmla="*/ 2147483646 w 764"/>
              <a:gd name="T19" fmla="*/ 2147483646 h 1041"/>
              <a:gd name="T20" fmla="*/ 2147483646 w 764"/>
              <a:gd name="T21" fmla="*/ 2147483646 h 1041"/>
              <a:gd name="T22" fmla="*/ 2147483646 w 764"/>
              <a:gd name="T23" fmla="*/ 2147483646 h 1041"/>
              <a:gd name="T24" fmla="*/ 2147483646 w 764"/>
              <a:gd name="T25" fmla="*/ 2147483646 h 1041"/>
              <a:gd name="T26" fmla="*/ 2147483646 w 764"/>
              <a:gd name="T27" fmla="*/ 2147483646 h 1041"/>
              <a:gd name="T28" fmla="*/ 2147483646 w 764"/>
              <a:gd name="T29" fmla="*/ 2147483646 h 1041"/>
              <a:gd name="T30" fmla="*/ 2147483646 w 764"/>
              <a:gd name="T31" fmla="*/ 2147483646 h 1041"/>
              <a:gd name="T32" fmla="*/ 2147483646 w 764"/>
              <a:gd name="T33" fmla="*/ 2147483646 h 1041"/>
              <a:gd name="T34" fmla="*/ 2147483646 w 764"/>
              <a:gd name="T35" fmla="*/ 2147483646 h 1041"/>
              <a:gd name="T36" fmla="*/ 2147483646 w 764"/>
              <a:gd name="T37" fmla="*/ 2147483646 h 1041"/>
              <a:gd name="T38" fmla="*/ 2147483646 w 764"/>
              <a:gd name="T39" fmla="*/ 2147483646 h 1041"/>
              <a:gd name="T40" fmla="*/ 2147483646 w 764"/>
              <a:gd name="T41" fmla="*/ 0 h 1041"/>
              <a:gd name="T42" fmla="*/ 2147483646 w 764"/>
              <a:gd name="T43" fmla="*/ 2147483646 h 1041"/>
              <a:gd name="T44" fmla="*/ 2147483646 w 764"/>
              <a:gd name="T45" fmla="*/ 2147483646 h 1041"/>
              <a:gd name="T46" fmla="*/ 2147483646 w 764"/>
              <a:gd name="T47" fmla="*/ 2147483646 h 1041"/>
              <a:gd name="T48" fmla="*/ 2147483646 w 764"/>
              <a:gd name="T49" fmla="*/ 2147483646 h 1041"/>
              <a:gd name="T50" fmla="*/ 2147483646 w 764"/>
              <a:gd name="T51" fmla="*/ 2147483646 h 1041"/>
              <a:gd name="T52" fmla="*/ 2147483646 w 764"/>
              <a:gd name="T53" fmla="*/ 2147483646 h 1041"/>
              <a:gd name="T54" fmla="*/ 2147483646 w 764"/>
              <a:gd name="T55" fmla="*/ 2147483646 h 1041"/>
              <a:gd name="T56" fmla="*/ 2147483646 w 764"/>
              <a:gd name="T57" fmla="*/ 2147483646 h 1041"/>
              <a:gd name="T58" fmla="*/ 2147483646 w 764"/>
              <a:gd name="T59" fmla="*/ 2147483646 h 1041"/>
              <a:gd name="T60" fmla="*/ 2147483646 w 764"/>
              <a:gd name="T61" fmla="*/ 2147483646 h 1041"/>
              <a:gd name="T62" fmla="*/ 2147483646 w 764"/>
              <a:gd name="T63" fmla="*/ 2147483646 h 1041"/>
              <a:gd name="T64" fmla="*/ 2147483646 w 764"/>
              <a:gd name="T65" fmla="*/ 2147483646 h 1041"/>
              <a:gd name="T66" fmla="*/ 2147483646 w 764"/>
              <a:gd name="T67" fmla="*/ 2147483646 h 1041"/>
              <a:gd name="T68" fmla="*/ 2147483646 w 764"/>
              <a:gd name="T69" fmla="*/ 2147483646 h 1041"/>
              <a:gd name="T70" fmla="*/ 2147483646 w 764"/>
              <a:gd name="T71" fmla="*/ 2147483646 h 1041"/>
              <a:gd name="T72" fmla="*/ 2147483646 w 764"/>
              <a:gd name="T73" fmla="*/ 2147483646 h 1041"/>
              <a:gd name="T74" fmla="*/ 2147483646 w 764"/>
              <a:gd name="T75" fmla="*/ 2147483646 h 1041"/>
              <a:gd name="T76" fmla="*/ 2147483646 w 764"/>
              <a:gd name="T77" fmla="*/ 2147483646 h 1041"/>
              <a:gd name="T78" fmla="*/ 2147483646 w 764"/>
              <a:gd name="T79" fmla="*/ 2147483646 h 1041"/>
              <a:gd name="T80" fmla="*/ 2147483646 w 764"/>
              <a:gd name="T81" fmla="*/ 2147483646 h 1041"/>
              <a:gd name="T82" fmla="*/ 2147483646 w 764"/>
              <a:gd name="T83" fmla="*/ 2147483646 h 1041"/>
              <a:gd name="T84" fmla="*/ 2147483646 w 764"/>
              <a:gd name="T85" fmla="*/ 2147483646 h 1041"/>
              <a:gd name="T86" fmla="*/ 2147483646 w 764"/>
              <a:gd name="T87" fmla="*/ 2147483646 h 1041"/>
              <a:gd name="T88" fmla="*/ 2147483646 w 764"/>
              <a:gd name="T89" fmla="*/ 2147483646 h 1041"/>
              <a:gd name="T90" fmla="*/ 2147483646 w 764"/>
              <a:gd name="T91" fmla="*/ 2147483646 h 1041"/>
              <a:gd name="T92" fmla="*/ 2147483646 w 764"/>
              <a:gd name="T93" fmla="*/ 2147483646 h 1041"/>
              <a:gd name="T94" fmla="*/ 2147483646 w 764"/>
              <a:gd name="T95" fmla="*/ 2147483646 h 1041"/>
              <a:gd name="T96" fmla="*/ 2147483646 w 764"/>
              <a:gd name="T97" fmla="*/ 2147483646 h 1041"/>
              <a:gd name="T98" fmla="*/ 2147483646 w 764"/>
              <a:gd name="T99" fmla="*/ 2147483646 h 1041"/>
              <a:gd name="T100" fmla="*/ 2147483646 w 764"/>
              <a:gd name="T101" fmla="*/ 2147483646 h 1041"/>
              <a:gd name="T102" fmla="*/ 2147483646 w 764"/>
              <a:gd name="T103" fmla="*/ 2147483646 h 1041"/>
              <a:gd name="T104" fmla="*/ 2147483646 w 764"/>
              <a:gd name="T105" fmla="*/ 2147483646 h 1041"/>
              <a:gd name="T106" fmla="*/ 2147483646 w 764"/>
              <a:gd name="T107" fmla="*/ 2147483646 h 1041"/>
              <a:gd name="T108" fmla="*/ 2147483646 w 764"/>
              <a:gd name="T109" fmla="*/ 2147483646 h 1041"/>
              <a:gd name="T110" fmla="*/ 2147483646 w 764"/>
              <a:gd name="T111" fmla="*/ 2147483646 h 1041"/>
              <a:gd name="T112" fmla="*/ 2147483646 w 764"/>
              <a:gd name="T113" fmla="*/ 2147483646 h 1041"/>
              <a:gd name="T114" fmla="*/ 2147483646 w 764"/>
              <a:gd name="T115" fmla="*/ 2147483646 h 1041"/>
              <a:gd name="T116" fmla="*/ 0 w 764"/>
              <a:gd name="T117" fmla="*/ 2147483646 h 104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64" h="1041">
                <a:moveTo>
                  <a:pt x="0" y="661"/>
                </a:moveTo>
                <a:lnTo>
                  <a:pt x="189" y="738"/>
                </a:lnTo>
                <a:lnTo>
                  <a:pt x="200" y="712"/>
                </a:lnTo>
                <a:lnTo>
                  <a:pt x="208" y="688"/>
                </a:lnTo>
                <a:lnTo>
                  <a:pt x="213" y="665"/>
                </a:lnTo>
                <a:lnTo>
                  <a:pt x="219" y="644"/>
                </a:lnTo>
                <a:lnTo>
                  <a:pt x="224" y="621"/>
                </a:lnTo>
                <a:lnTo>
                  <a:pt x="229" y="594"/>
                </a:lnTo>
                <a:lnTo>
                  <a:pt x="233" y="569"/>
                </a:lnTo>
                <a:lnTo>
                  <a:pt x="236" y="545"/>
                </a:lnTo>
                <a:lnTo>
                  <a:pt x="239" y="517"/>
                </a:lnTo>
                <a:lnTo>
                  <a:pt x="240" y="488"/>
                </a:lnTo>
                <a:lnTo>
                  <a:pt x="240" y="435"/>
                </a:lnTo>
                <a:lnTo>
                  <a:pt x="239" y="407"/>
                </a:lnTo>
                <a:lnTo>
                  <a:pt x="238" y="383"/>
                </a:lnTo>
                <a:lnTo>
                  <a:pt x="235" y="357"/>
                </a:lnTo>
                <a:lnTo>
                  <a:pt x="230" y="330"/>
                </a:lnTo>
                <a:lnTo>
                  <a:pt x="226" y="307"/>
                </a:lnTo>
                <a:lnTo>
                  <a:pt x="220" y="278"/>
                </a:lnTo>
                <a:lnTo>
                  <a:pt x="212" y="250"/>
                </a:lnTo>
                <a:lnTo>
                  <a:pt x="580" y="0"/>
                </a:lnTo>
                <a:lnTo>
                  <a:pt x="589" y="24"/>
                </a:lnTo>
                <a:lnTo>
                  <a:pt x="597" y="47"/>
                </a:lnTo>
                <a:lnTo>
                  <a:pt x="604" y="68"/>
                </a:lnTo>
                <a:lnTo>
                  <a:pt x="611" y="90"/>
                </a:lnTo>
                <a:lnTo>
                  <a:pt x="616" y="111"/>
                </a:lnTo>
                <a:lnTo>
                  <a:pt x="623" y="133"/>
                </a:lnTo>
                <a:lnTo>
                  <a:pt x="627" y="152"/>
                </a:lnTo>
                <a:lnTo>
                  <a:pt x="632" y="173"/>
                </a:lnTo>
                <a:lnTo>
                  <a:pt x="636" y="194"/>
                </a:lnTo>
                <a:lnTo>
                  <a:pt x="642" y="217"/>
                </a:lnTo>
                <a:lnTo>
                  <a:pt x="646" y="244"/>
                </a:lnTo>
                <a:lnTo>
                  <a:pt x="650" y="266"/>
                </a:lnTo>
                <a:lnTo>
                  <a:pt x="655" y="290"/>
                </a:lnTo>
                <a:lnTo>
                  <a:pt x="658" y="316"/>
                </a:lnTo>
                <a:lnTo>
                  <a:pt x="659" y="342"/>
                </a:lnTo>
                <a:lnTo>
                  <a:pt x="661" y="372"/>
                </a:lnTo>
                <a:lnTo>
                  <a:pt x="663" y="400"/>
                </a:lnTo>
                <a:lnTo>
                  <a:pt x="663" y="427"/>
                </a:lnTo>
                <a:lnTo>
                  <a:pt x="663" y="456"/>
                </a:lnTo>
                <a:lnTo>
                  <a:pt x="663" y="493"/>
                </a:lnTo>
                <a:lnTo>
                  <a:pt x="662" y="525"/>
                </a:lnTo>
                <a:lnTo>
                  <a:pt x="661" y="549"/>
                </a:lnTo>
                <a:lnTo>
                  <a:pt x="659" y="574"/>
                </a:lnTo>
                <a:lnTo>
                  <a:pt x="658" y="601"/>
                </a:lnTo>
                <a:lnTo>
                  <a:pt x="653" y="632"/>
                </a:lnTo>
                <a:lnTo>
                  <a:pt x="648" y="657"/>
                </a:lnTo>
                <a:lnTo>
                  <a:pt x="645" y="683"/>
                </a:lnTo>
                <a:lnTo>
                  <a:pt x="638" y="713"/>
                </a:lnTo>
                <a:lnTo>
                  <a:pt x="633" y="737"/>
                </a:lnTo>
                <a:lnTo>
                  <a:pt x="627" y="766"/>
                </a:lnTo>
                <a:lnTo>
                  <a:pt x="621" y="792"/>
                </a:lnTo>
                <a:lnTo>
                  <a:pt x="612" y="817"/>
                </a:lnTo>
                <a:lnTo>
                  <a:pt x="605" y="844"/>
                </a:lnTo>
                <a:lnTo>
                  <a:pt x="595" y="877"/>
                </a:lnTo>
                <a:lnTo>
                  <a:pt x="584" y="910"/>
                </a:lnTo>
                <a:lnTo>
                  <a:pt x="763" y="989"/>
                </a:lnTo>
                <a:lnTo>
                  <a:pt x="313" y="1040"/>
                </a:lnTo>
                <a:lnTo>
                  <a:pt x="0" y="661"/>
                </a:lnTo>
              </a:path>
            </a:pathLst>
          </a:custGeom>
          <a:gradFill rotWithShape="0">
            <a:gsLst>
              <a:gs pos="0">
                <a:srgbClr val="FF0000"/>
              </a:gs>
              <a:gs pos="100000">
                <a:srgbClr val="FFFFFF"/>
              </a:gs>
            </a:gsLst>
            <a:path path="rect">
              <a:fillToRect r="100000" b="100000"/>
            </a:path>
          </a:gra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cs-CZ"/>
          </a:p>
        </p:txBody>
      </p:sp>
      <p:sp>
        <p:nvSpPr>
          <p:cNvPr id="52" name="Freeform 20"/>
          <p:cNvSpPr>
            <a:spLocks/>
          </p:cNvSpPr>
          <p:nvPr/>
        </p:nvSpPr>
        <p:spPr bwMode="auto">
          <a:xfrm>
            <a:off x="5111750" y="1789113"/>
            <a:ext cx="1501775" cy="1460500"/>
          </a:xfrm>
          <a:custGeom>
            <a:avLst/>
            <a:gdLst>
              <a:gd name="T0" fmla="*/ 181 w 893"/>
              <a:gd name="T1" fmla="*/ 0 h 920"/>
              <a:gd name="T2" fmla="*/ 199 w 893"/>
              <a:gd name="T3" fmla="*/ 10 h 920"/>
              <a:gd name="T4" fmla="*/ 214 w 893"/>
              <a:gd name="T5" fmla="*/ 19 h 920"/>
              <a:gd name="T6" fmla="*/ 230 w 893"/>
              <a:gd name="T7" fmla="*/ 27 h 920"/>
              <a:gd name="T8" fmla="*/ 245 w 893"/>
              <a:gd name="T9" fmla="*/ 36 h 920"/>
              <a:gd name="T10" fmla="*/ 260 w 893"/>
              <a:gd name="T11" fmla="*/ 46 h 920"/>
              <a:gd name="T12" fmla="*/ 275 w 893"/>
              <a:gd name="T13" fmla="*/ 57 h 920"/>
              <a:gd name="T14" fmla="*/ 290 w 893"/>
              <a:gd name="T15" fmla="*/ 66 h 920"/>
              <a:gd name="T16" fmla="*/ 305 w 893"/>
              <a:gd name="T17" fmla="*/ 76 h 920"/>
              <a:gd name="T18" fmla="*/ 322 w 893"/>
              <a:gd name="T19" fmla="*/ 90 h 920"/>
              <a:gd name="T20" fmla="*/ 342 w 893"/>
              <a:gd name="T21" fmla="*/ 104 h 920"/>
              <a:gd name="T22" fmla="*/ 356 w 893"/>
              <a:gd name="T23" fmla="*/ 115 h 920"/>
              <a:gd name="T24" fmla="*/ 371 w 893"/>
              <a:gd name="T25" fmla="*/ 129 h 920"/>
              <a:gd name="T26" fmla="*/ 389 w 893"/>
              <a:gd name="T27" fmla="*/ 142 h 920"/>
              <a:gd name="T28" fmla="*/ 407 w 893"/>
              <a:gd name="T29" fmla="*/ 157 h 920"/>
              <a:gd name="T30" fmla="*/ 423 w 893"/>
              <a:gd name="T31" fmla="*/ 171 h 920"/>
              <a:gd name="T32" fmla="*/ 439 w 893"/>
              <a:gd name="T33" fmla="*/ 187 h 920"/>
              <a:gd name="T34" fmla="*/ 453 w 893"/>
              <a:gd name="T35" fmla="*/ 202 h 920"/>
              <a:gd name="T36" fmla="*/ 471 w 893"/>
              <a:gd name="T37" fmla="*/ 220 h 920"/>
              <a:gd name="T38" fmla="*/ 487 w 893"/>
              <a:gd name="T39" fmla="*/ 236 h 920"/>
              <a:gd name="T40" fmla="*/ 500 w 893"/>
              <a:gd name="T41" fmla="*/ 252 h 920"/>
              <a:gd name="T42" fmla="*/ 516 w 893"/>
              <a:gd name="T43" fmla="*/ 270 h 920"/>
              <a:gd name="T44" fmla="*/ 529 w 893"/>
              <a:gd name="T45" fmla="*/ 284 h 920"/>
              <a:gd name="T46" fmla="*/ 542 w 893"/>
              <a:gd name="T47" fmla="*/ 301 h 920"/>
              <a:gd name="T48" fmla="*/ 556 w 893"/>
              <a:gd name="T49" fmla="*/ 318 h 920"/>
              <a:gd name="T50" fmla="*/ 571 w 893"/>
              <a:gd name="T51" fmla="*/ 339 h 920"/>
              <a:gd name="T52" fmla="*/ 583 w 893"/>
              <a:gd name="T53" fmla="*/ 356 h 920"/>
              <a:gd name="T54" fmla="*/ 597 w 893"/>
              <a:gd name="T55" fmla="*/ 375 h 920"/>
              <a:gd name="T56" fmla="*/ 612 w 893"/>
              <a:gd name="T57" fmla="*/ 398 h 920"/>
              <a:gd name="T58" fmla="*/ 626 w 893"/>
              <a:gd name="T59" fmla="*/ 419 h 920"/>
              <a:gd name="T60" fmla="*/ 640 w 893"/>
              <a:gd name="T61" fmla="*/ 442 h 920"/>
              <a:gd name="T62" fmla="*/ 654 w 893"/>
              <a:gd name="T63" fmla="*/ 465 h 920"/>
              <a:gd name="T64" fmla="*/ 667 w 893"/>
              <a:gd name="T65" fmla="*/ 490 h 920"/>
              <a:gd name="T66" fmla="*/ 680 w 893"/>
              <a:gd name="T67" fmla="*/ 515 h 920"/>
              <a:gd name="T68" fmla="*/ 690 w 893"/>
              <a:gd name="T69" fmla="*/ 537 h 920"/>
              <a:gd name="T70" fmla="*/ 700 w 893"/>
              <a:gd name="T71" fmla="*/ 558 h 920"/>
              <a:gd name="T72" fmla="*/ 709 w 893"/>
              <a:gd name="T73" fmla="*/ 583 h 920"/>
              <a:gd name="T74" fmla="*/ 715 w 893"/>
              <a:gd name="T75" fmla="*/ 600 h 920"/>
              <a:gd name="T76" fmla="*/ 892 w 893"/>
              <a:gd name="T77" fmla="*/ 524 h 920"/>
              <a:gd name="T78" fmla="*/ 617 w 893"/>
              <a:gd name="T79" fmla="*/ 919 h 920"/>
              <a:gd name="T80" fmla="*/ 129 w 893"/>
              <a:gd name="T81" fmla="*/ 855 h 920"/>
              <a:gd name="T82" fmla="*/ 322 w 893"/>
              <a:gd name="T83" fmla="*/ 770 h 920"/>
              <a:gd name="T84" fmla="*/ 310 w 893"/>
              <a:gd name="T85" fmla="*/ 742 h 920"/>
              <a:gd name="T86" fmla="*/ 297 w 893"/>
              <a:gd name="T87" fmla="*/ 716 h 920"/>
              <a:gd name="T88" fmla="*/ 281 w 893"/>
              <a:gd name="T89" fmla="*/ 686 h 920"/>
              <a:gd name="T90" fmla="*/ 261 w 893"/>
              <a:gd name="T91" fmla="*/ 656 h 920"/>
              <a:gd name="T92" fmla="*/ 245 w 893"/>
              <a:gd name="T93" fmla="*/ 630 h 920"/>
              <a:gd name="T94" fmla="*/ 226 w 893"/>
              <a:gd name="T95" fmla="*/ 606 h 920"/>
              <a:gd name="T96" fmla="*/ 208 w 893"/>
              <a:gd name="T97" fmla="*/ 581 h 920"/>
              <a:gd name="T98" fmla="*/ 188 w 893"/>
              <a:gd name="T99" fmla="*/ 561 h 920"/>
              <a:gd name="T100" fmla="*/ 169 w 893"/>
              <a:gd name="T101" fmla="*/ 541 h 920"/>
              <a:gd name="T102" fmla="*/ 147 w 893"/>
              <a:gd name="T103" fmla="*/ 519 h 920"/>
              <a:gd name="T104" fmla="*/ 125 w 893"/>
              <a:gd name="T105" fmla="*/ 501 h 920"/>
              <a:gd name="T106" fmla="*/ 104 w 893"/>
              <a:gd name="T107" fmla="*/ 483 h 920"/>
              <a:gd name="T108" fmla="*/ 84 w 893"/>
              <a:gd name="T109" fmla="*/ 467 h 920"/>
              <a:gd name="T110" fmla="*/ 60 w 893"/>
              <a:gd name="T111" fmla="*/ 450 h 920"/>
              <a:gd name="T112" fmla="*/ 35 w 893"/>
              <a:gd name="T113" fmla="*/ 434 h 920"/>
              <a:gd name="T114" fmla="*/ 18 w 893"/>
              <a:gd name="T115" fmla="*/ 425 h 920"/>
              <a:gd name="T116" fmla="*/ 0 w 893"/>
              <a:gd name="T117" fmla="*/ 414 h 920"/>
              <a:gd name="T118" fmla="*/ 181 w 893"/>
              <a:gd name="T119" fmla="*/ 0 h 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93" h="920">
                <a:moveTo>
                  <a:pt x="181" y="0"/>
                </a:moveTo>
                <a:lnTo>
                  <a:pt x="199" y="10"/>
                </a:lnTo>
                <a:lnTo>
                  <a:pt x="214" y="19"/>
                </a:lnTo>
                <a:lnTo>
                  <a:pt x="230" y="27"/>
                </a:lnTo>
                <a:lnTo>
                  <a:pt x="245" y="36"/>
                </a:lnTo>
                <a:lnTo>
                  <a:pt x="260" y="46"/>
                </a:lnTo>
                <a:lnTo>
                  <a:pt x="275" y="57"/>
                </a:lnTo>
                <a:lnTo>
                  <a:pt x="290" y="66"/>
                </a:lnTo>
                <a:lnTo>
                  <a:pt x="305" y="76"/>
                </a:lnTo>
                <a:lnTo>
                  <a:pt x="322" y="90"/>
                </a:lnTo>
                <a:lnTo>
                  <a:pt x="342" y="104"/>
                </a:lnTo>
                <a:lnTo>
                  <a:pt x="356" y="115"/>
                </a:lnTo>
                <a:lnTo>
                  <a:pt x="371" y="129"/>
                </a:lnTo>
                <a:lnTo>
                  <a:pt x="389" y="142"/>
                </a:lnTo>
                <a:lnTo>
                  <a:pt x="407" y="157"/>
                </a:lnTo>
                <a:lnTo>
                  <a:pt x="423" y="171"/>
                </a:lnTo>
                <a:lnTo>
                  <a:pt x="439" y="187"/>
                </a:lnTo>
                <a:lnTo>
                  <a:pt x="453" y="202"/>
                </a:lnTo>
                <a:lnTo>
                  <a:pt x="471" y="220"/>
                </a:lnTo>
                <a:lnTo>
                  <a:pt x="487" y="236"/>
                </a:lnTo>
                <a:lnTo>
                  <a:pt x="500" y="252"/>
                </a:lnTo>
                <a:lnTo>
                  <a:pt x="516" y="270"/>
                </a:lnTo>
                <a:lnTo>
                  <a:pt x="529" y="284"/>
                </a:lnTo>
                <a:lnTo>
                  <a:pt x="542" y="301"/>
                </a:lnTo>
                <a:lnTo>
                  <a:pt x="556" y="318"/>
                </a:lnTo>
                <a:lnTo>
                  <a:pt x="571" y="339"/>
                </a:lnTo>
                <a:lnTo>
                  <a:pt x="583" y="356"/>
                </a:lnTo>
                <a:lnTo>
                  <a:pt x="597" y="375"/>
                </a:lnTo>
                <a:lnTo>
                  <a:pt x="612" y="398"/>
                </a:lnTo>
                <a:lnTo>
                  <a:pt x="626" y="419"/>
                </a:lnTo>
                <a:lnTo>
                  <a:pt x="640" y="442"/>
                </a:lnTo>
                <a:lnTo>
                  <a:pt x="654" y="465"/>
                </a:lnTo>
                <a:lnTo>
                  <a:pt x="667" y="490"/>
                </a:lnTo>
                <a:lnTo>
                  <a:pt x="680" y="515"/>
                </a:lnTo>
                <a:lnTo>
                  <a:pt x="690" y="537"/>
                </a:lnTo>
                <a:lnTo>
                  <a:pt x="700" y="558"/>
                </a:lnTo>
                <a:lnTo>
                  <a:pt x="709" y="583"/>
                </a:lnTo>
                <a:lnTo>
                  <a:pt x="715" y="600"/>
                </a:lnTo>
                <a:lnTo>
                  <a:pt x="892" y="524"/>
                </a:lnTo>
                <a:lnTo>
                  <a:pt x="617" y="919"/>
                </a:lnTo>
                <a:lnTo>
                  <a:pt x="129" y="855"/>
                </a:lnTo>
                <a:lnTo>
                  <a:pt x="322" y="770"/>
                </a:lnTo>
                <a:lnTo>
                  <a:pt x="310" y="742"/>
                </a:lnTo>
                <a:lnTo>
                  <a:pt x="297" y="716"/>
                </a:lnTo>
                <a:lnTo>
                  <a:pt x="281" y="686"/>
                </a:lnTo>
                <a:lnTo>
                  <a:pt x="261" y="656"/>
                </a:lnTo>
                <a:lnTo>
                  <a:pt x="245" y="630"/>
                </a:lnTo>
                <a:lnTo>
                  <a:pt x="226" y="606"/>
                </a:lnTo>
                <a:lnTo>
                  <a:pt x="208" y="581"/>
                </a:lnTo>
                <a:lnTo>
                  <a:pt x="188" y="561"/>
                </a:lnTo>
                <a:lnTo>
                  <a:pt x="169" y="541"/>
                </a:lnTo>
                <a:lnTo>
                  <a:pt x="147" y="519"/>
                </a:lnTo>
                <a:lnTo>
                  <a:pt x="125" y="501"/>
                </a:lnTo>
                <a:lnTo>
                  <a:pt x="104" y="483"/>
                </a:lnTo>
                <a:lnTo>
                  <a:pt x="84" y="467"/>
                </a:lnTo>
                <a:lnTo>
                  <a:pt x="60" y="450"/>
                </a:lnTo>
                <a:lnTo>
                  <a:pt x="35" y="434"/>
                </a:lnTo>
                <a:lnTo>
                  <a:pt x="18" y="425"/>
                </a:lnTo>
                <a:lnTo>
                  <a:pt x="0" y="414"/>
                </a:lnTo>
                <a:lnTo>
                  <a:pt x="181" y="0"/>
                </a:lnTo>
              </a:path>
            </a:pathLst>
          </a:custGeom>
          <a:gradFill rotWithShape="0">
            <a:gsLst>
              <a:gs pos="0">
                <a:schemeClr val="accent1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path path="rect">
              <a:fillToRect r="100000" b="100000"/>
            </a:path>
          </a:gra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10000"/>
              </a:lnSpc>
              <a:spcBef>
                <a:spcPct val="50000"/>
              </a:spcBef>
              <a:defRPr/>
            </a:pPr>
            <a:endParaRPr lang="cs-CZ">
              <a:latin typeface="Arial" charset="0"/>
              <a:cs typeface="Arial" charset="0"/>
            </a:endParaRPr>
          </a:p>
        </p:txBody>
      </p:sp>
      <p:sp>
        <p:nvSpPr>
          <p:cNvPr id="14355" name="Freeform 21"/>
          <p:cNvSpPr>
            <a:spLocks/>
          </p:cNvSpPr>
          <p:nvPr/>
        </p:nvSpPr>
        <p:spPr bwMode="auto">
          <a:xfrm>
            <a:off x="4062413" y="1417638"/>
            <a:ext cx="1450975" cy="1196975"/>
          </a:xfrm>
          <a:custGeom>
            <a:avLst/>
            <a:gdLst>
              <a:gd name="T0" fmla="*/ 2147483646 w 864"/>
              <a:gd name="T1" fmla="*/ 2147483646 h 754"/>
              <a:gd name="T2" fmla="*/ 2147483646 w 864"/>
              <a:gd name="T3" fmla="*/ 2147483646 h 754"/>
              <a:gd name="T4" fmla="*/ 2147483646 w 864"/>
              <a:gd name="T5" fmla="*/ 2147483646 h 754"/>
              <a:gd name="T6" fmla="*/ 2147483646 w 864"/>
              <a:gd name="T7" fmla="*/ 2147483646 h 754"/>
              <a:gd name="T8" fmla="*/ 2147483646 w 864"/>
              <a:gd name="T9" fmla="*/ 2147483646 h 754"/>
              <a:gd name="T10" fmla="*/ 2147483646 w 864"/>
              <a:gd name="T11" fmla="*/ 2147483646 h 754"/>
              <a:gd name="T12" fmla="*/ 2147483646 w 864"/>
              <a:gd name="T13" fmla="*/ 2147483646 h 754"/>
              <a:gd name="T14" fmla="*/ 2147483646 w 864"/>
              <a:gd name="T15" fmla="*/ 2147483646 h 754"/>
              <a:gd name="T16" fmla="*/ 2147483646 w 864"/>
              <a:gd name="T17" fmla="*/ 2147483646 h 754"/>
              <a:gd name="T18" fmla="*/ 2147483646 w 864"/>
              <a:gd name="T19" fmla="*/ 2147483646 h 754"/>
              <a:gd name="T20" fmla="*/ 2147483646 w 864"/>
              <a:gd name="T21" fmla="*/ 2147483646 h 754"/>
              <a:gd name="T22" fmla="*/ 2147483646 w 864"/>
              <a:gd name="T23" fmla="*/ 2147483646 h 754"/>
              <a:gd name="T24" fmla="*/ 2147483646 w 864"/>
              <a:gd name="T25" fmla="*/ 2147483646 h 754"/>
              <a:gd name="T26" fmla="*/ 2147483646 w 864"/>
              <a:gd name="T27" fmla="*/ 2147483646 h 754"/>
              <a:gd name="T28" fmla="*/ 2147483646 w 864"/>
              <a:gd name="T29" fmla="*/ 2147483646 h 754"/>
              <a:gd name="T30" fmla="*/ 2147483646 w 864"/>
              <a:gd name="T31" fmla="*/ 2147483646 h 754"/>
              <a:gd name="T32" fmla="*/ 2147483646 w 864"/>
              <a:gd name="T33" fmla="*/ 2147483646 h 754"/>
              <a:gd name="T34" fmla="*/ 2147483646 w 864"/>
              <a:gd name="T35" fmla="*/ 2147483646 h 754"/>
              <a:gd name="T36" fmla="*/ 0 w 864"/>
              <a:gd name="T37" fmla="*/ 2147483646 h 754"/>
              <a:gd name="T38" fmla="*/ 2147483646 w 864"/>
              <a:gd name="T39" fmla="*/ 2147483646 h 754"/>
              <a:gd name="T40" fmla="*/ 2147483646 w 864"/>
              <a:gd name="T41" fmla="*/ 2147483646 h 754"/>
              <a:gd name="T42" fmla="*/ 2147483646 w 864"/>
              <a:gd name="T43" fmla="*/ 2147483646 h 754"/>
              <a:gd name="T44" fmla="*/ 2147483646 w 864"/>
              <a:gd name="T45" fmla="*/ 2147483646 h 754"/>
              <a:gd name="T46" fmla="*/ 2147483646 w 864"/>
              <a:gd name="T47" fmla="*/ 2147483646 h 754"/>
              <a:gd name="T48" fmla="*/ 2147483646 w 864"/>
              <a:gd name="T49" fmla="*/ 2147483646 h 754"/>
              <a:gd name="T50" fmla="*/ 2147483646 w 864"/>
              <a:gd name="T51" fmla="*/ 2147483646 h 754"/>
              <a:gd name="T52" fmla="*/ 2147483646 w 864"/>
              <a:gd name="T53" fmla="*/ 2147483646 h 754"/>
              <a:gd name="T54" fmla="*/ 2147483646 w 864"/>
              <a:gd name="T55" fmla="*/ 2147483646 h 754"/>
              <a:gd name="T56" fmla="*/ 2147483646 w 864"/>
              <a:gd name="T57" fmla="*/ 2147483646 h 754"/>
              <a:gd name="T58" fmla="*/ 2147483646 w 864"/>
              <a:gd name="T59" fmla="*/ 2147483646 h 754"/>
              <a:gd name="T60" fmla="*/ 2147483646 w 864"/>
              <a:gd name="T61" fmla="*/ 2147483646 h 754"/>
              <a:gd name="T62" fmla="*/ 2147483646 w 864"/>
              <a:gd name="T63" fmla="*/ 2147483646 h 754"/>
              <a:gd name="T64" fmla="*/ 2147483646 w 864"/>
              <a:gd name="T65" fmla="*/ 2147483646 h 754"/>
              <a:gd name="T66" fmla="*/ 2147483646 w 864"/>
              <a:gd name="T67" fmla="*/ 2147483646 h 754"/>
              <a:gd name="T68" fmla="*/ 2147483646 w 864"/>
              <a:gd name="T69" fmla="*/ 2147483646 h 754"/>
              <a:gd name="T70" fmla="*/ 2147483646 w 864"/>
              <a:gd name="T71" fmla="*/ 2147483646 h 754"/>
              <a:gd name="T72" fmla="*/ 2147483646 w 864"/>
              <a:gd name="T73" fmla="*/ 2147483646 h 754"/>
              <a:gd name="T74" fmla="*/ 2147483646 w 864"/>
              <a:gd name="T75" fmla="*/ 2147483646 h 754"/>
              <a:gd name="T76" fmla="*/ 2147483646 w 864"/>
              <a:gd name="T77" fmla="*/ 2147483646 h 754"/>
              <a:gd name="T78" fmla="*/ 2147483646 w 864"/>
              <a:gd name="T79" fmla="*/ 2147483646 h 754"/>
              <a:gd name="T80" fmla="*/ 2147483646 w 864"/>
              <a:gd name="T81" fmla="*/ 2147483646 h 754"/>
              <a:gd name="T82" fmla="*/ 2147483646 w 864"/>
              <a:gd name="T83" fmla="*/ 2147483646 h 754"/>
              <a:gd name="T84" fmla="*/ 2147483646 w 864"/>
              <a:gd name="T85" fmla="*/ 2147483646 h 754"/>
              <a:gd name="T86" fmla="*/ 2147483646 w 864"/>
              <a:gd name="T87" fmla="*/ 2147483646 h 754"/>
              <a:gd name="T88" fmla="*/ 2147483646 w 864"/>
              <a:gd name="T89" fmla="*/ 2147483646 h 754"/>
              <a:gd name="T90" fmla="*/ 2147483646 w 864"/>
              <a:gd name="T91" fmla="*/ 2147483646 h 754"/>
              <a:gd name="T92" fmla="*/ 2147483646 w 864"/>
              <a:gd name="T93" fmla="*/ 2147483646 h 754"/>
              <a:gd name="T94" fmla="*/ 2147483646 w 864"/>
              <a:gd name="T95" fmla="*/ 2147483646 h 754"/>
              <a:gd name="T96" fmla="*/ 2147483646 w 864"/>
              <a:gd name="T97" fmla="*/ 0 h 754"/>
              <a:gd name="T98" fmla="*/ 2147483646 w 864"/>
              <a:gd name="T99" fmla="*/ 2147483646 h 754"/>
              <a:gd name="T100" fmla="*/ 2147483646 w 864"/>
              <a:gd name="T101" fmla="*/ 2147483646 h 75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864" h="754">
                <a:moveTo>
                  <a:pt x="461" y="753"/>
                </a:moveTo>
                <a:lnTo>
                  <a:pt x="517" y="607"/>
                </a:lnTo>
                <a:lnTo>
                  <a:pt x="498" y="601"/>
                </a:lnTo>
                <a:lnTo>
                  <a:pt x="478" y="596"/>
                </a:lnTo>
                <a:lnTo>
                  <a:pt x="452" y="590"/>
                </a:lnTo>
                <a:lnTo>
                  <a:pt x="431" y="586"/>
                </a:lnTo>
                <a:lnTo>
                  <a:pt x="407" y="582"/>
                </a:lnTo>
                <a:lnTo>
                  <a:pt x="381" y="580"/>
                </a:lnTo>
                <a:lnTo>
                  <a:pt x="354" y="577"/>
                </a:lnTo>
                <a:lnTo>
                  <a:pt x="306" y="577"/>
                </a:lnTo>
                <a:lnTo>
                  <a:pt x="281" y="579"/>
                </a:lnTo>
                <a:lnTo>
                  <a:pt x="258" y="581"/>
                </a:lnTo>
                <a:lnTo>
                  <a:pt x="234" y="583"/>
                </a:lnTo>
                <a:lnTo>
                  <a:pt x="210" y="588"/>
                </a:lnTo>
                <a:lnTo>
                  <a:pt x="187" y="593"/>
                </a:lnTo>
                <a:lnTo>
                  <a:pt x="161" y="599"/>
                </a:lnTo>
                <a:lnTo>
                  <a:pt x="137" y="608"/>
                </a:lnTo>
                <a:lnTo>
                  <a:pt x="198" y="298"/>
                </a:lnTo>
                <a:lnTo>
                  <a:pt x="0" y="175"/>
                </a:lnTo>
                <a:lnTo>
                  <a:pt x="10" y="171"/>
                </a:lnTo>
                <a:lnTo>
                  <a:pt x="30" y="164"/>
                </a:lnTo>
                <a:lnTo>
                  <a:pt x="46" y="159"/>
                </a:lnTo>
                <a:lnTo>
                  <a:pt x="65" y="153"/>
                </a:lnTo>
                <a:lnTo>
                  <a:pt x="86" y="148"/>
                </a:lnTo>
                <a:lnTo>
                  <a:pt x="104" y="143"/>
                </a:lnTo>
                <a:lnTo>
                  <a:pt x="127" y="137"/>
                </a:lnTo>
                <a:lnTo>
                  <a:pt x="148" y="133"/>
                </a:lnTo>
                <a:lnTo>
                  <a:pt x="172" y="130"/>
                </a:lnTo>
                <a:lnTo>
                  <a:pt x="197" y="126"/>
                </a:lnTo>
                <a:lnTo>
                  <a:pt x="220" y="123"/>
                </a:lnTo>
                <a:lnTo>
                  <a:pt x="247" y="122"/>
                </a:lnTo>
                <a:lnTo>
                  <a:pt x="273" y="120"/>
                </a:lnTo>
                <a:lnTo>
                  <a:pt x="299" y="120"/>
                </a:lnTo>
                <a:lnTo>
                  <a:pt x="326" y="120"/>
                </a:lnTo>
                <a:lnTo>
                  <a:pt x="360" y="120"/>
                </a:lnTo>
                <a:lnTo>
                  <a:pt x="390" y="121"/>
                </a:lnTo>
                <a:lnTo>
                  <a:pt x="411" y="122"/>
                </a:lnTo>
                <a:lnTo>
                  <a:pt x="436" y="125"/>
                </a:lnTo>
                <a:lnTo>
                  <a:pt x="459" y="127"/>
                </a:lnTo>
                <a:lnTo>
                  <a:pt x="487" y="131"/>
                </a:lnTo>
                <a:lnTo>
                  <a:pt x="511" y="136"/>
                </a:lnTo>
                <a:lnTo>
                  <a:pt x="533" y="141"/>
                </a:lnTo>
                <a:lnTo>
                  <a:pt x="563" y="147"/>
                </a:lnTo>
                <a:lnTo>
                  <a:pt x="585" y="153"/>
                </a:lnTo>
                <a:lnTo>
                  <a:pt x="612" y="160"/>
                </a:lnTo>
                <a:lnTo>
                  <a:pt x="635" y="166"/>
                </a:lnTo>
                <a:lnTo>
                  <a:pt x="660" y="175"/>
                </a:lnTo>
                <a:lnTo>
                  <a:pt x="685" y="183"/>
                </a:lnTo>
                <a:lnTo>
                  <a:pt x="758" y="0"/>
                </a:lnTo>
                <a:lnTo>
                  <a:pt x="863" y="510"/>
                </a:lnTo>
                <a:lnTo>
                  <a:pt x="461" y="753"/>
                </a:lnTo>
              </a:path>
            </a:pathLst>
          </a:custGeom>
          <a:gradFill rotWithShape="0">
            <a:gsLst>
              <a:gs pos="0">
                <a:srgbClr val="33CCFF"/>
              </a:gs>
              <a:gs pos="100000">
                <a:srgbClr val="FFFFFF"/>
              </a:gs>
            </a:gsLst>
            <a:path path="rect">
              <a:fillToRect l="100000" b="100000"/>
            </a:path>
          </a:gra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cs-CZ"/>
          </a:p>
        </p:txBody>
      </p:sp>
      <p:sp>
        <p:nvSpPr>
          <p:cNvPr id="2" name="Obdélník 1"/>
          <p:cNvSpPr/>
          <p:nvPr/>
        </p:nvSpPr>
        <p:spPr>
          <a:xfrm>
            <a:off x="1138756" y="174953"/>
            <a:ext cx="765100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hangingPunct="1">
              <a:spcBef>
                <a:spcPct val="50000"/>
              </a:spcBef>
              <a:buFontTx/>
              <a:buNone/>
            </a:pPr>
            <a:r>
              <a:rPr lang="ru-RU" sz="2800" b="1" dirty="0"/>
              <a:t>КОМПЛЕКСНАЯ </a:t>
            </a:r>
            <a:r>
              <a:rPr lang="ru-RU" sz="2800" b="1" dirty="0" smtClean="0"/>
              <a:t>РАБОТА ДЛЯ ЗАКАЗЧИКА</a:t>
            </a:r>
            <a:endParaRPr lang="cs-CZ" sz="2800" b="1" dirty="0"/>
          </a:p>
        </p:txBody>
      </p:sp>
      <p:pic>
        <p:nvPicPr>
          <p:cNvPr id="23" name="Obrázek 3" descr="ALTA_logo_barevn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278812" y="6237287"/>
            <a:ext cx="865188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295236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Zástupný symbol pro zápatí 2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r>
              <a:rPr lang="ru-RU">
                <a:latin typeface="Arial" charset="0"/>
              </a:rPr>
              <a:t>Страница</a:t>
            </a:r>
            <a:r>
              <a:rPr lang="de-DE">
                <a:latin typeface="Arial" charset="0"/>
              </a:rPr>
              <a:t> </a:t>
            </a:r>
            <a:r>
              <a:rPr lang="de-DE">
                <a:latin typeface="Arial" charset="0"/>
                <a:sym typeface="Wingdings" pitchFamily="2" charset="2"/>
              </a:rPr>
              <a:t></a:t>
            </a:r>
            <a:r>
              <a:rPr lang="de-DE">
                <a:latin typeface="Arial" charset="0"/>
              </a:rPr>
              <a:t> </a:t>
            </a:r>
            <a:fld id="{4C1A4B3E-9456-48F1-9C6C-A6A052B409F2}" type="slidenum">
              <a:rPr lang="de-DE">
                <a:latin typeface="Arial" charset="0"/>
              </a:rPr>
              <a:pPr/>
              <a:t>2</a:t>
            </a:fld>
            <a:endParaRPr lang="de-DE">
              <a:latin typeface="Arial" charset="0"/>
            </a:endParaRPr>
          </a:p>
        </p:txBody>
      </p:sp>
      <p:pic>
        <p:nvPicPr>
          <p:cNvPr id="12291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0" y="2263775"/>
            <a:ext cx="3987800" cy="40513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1229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314325" y="682625"/>
            <a:ext cx="8520113" cy="541337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ru-RU" sz="1800" b="0" dirty="0" smtClean="0">
                <a:solidFill>
                  <a:srgbClr val="000000"/>
                </a:solidFill>
              </a:rPr>
              <a:t>Основанная в 1991 году, группа компаний АЛТА является ведущим чешским промышленным холдингом</a:t>
            </a:r>
            <a:endParaRPr lang="cs-CZ" sz="1800" b="0" dirty="0" smtClean="0">
              <a:solidFill>
                <a:srgbClr val="000000"/>
              </a:solidFill>
            </a:endParaRPr>
          </a:p>
          <a:p>
            <a:pPr>
              <a:lnSpc>
                <a:spcPct val="80000"/>
              </a:lnSpc>
            </a:pPr>
            <a:endParaRPr lang="cs-CZ" sz="1800" b="0" dirty="0" smtClean="0">
              <a:solidFill>
                <a:srgbClr val="000000"/>
              </a:solidFill>
            </a:endParaRPr>
          </a:p>
          <a:p>
            <a:pPr>
              <a:lnSpc>
                <a:spcPct val="80000"/>
              </a:lnSpc>
            </a:pPr>
            <a:r>
              <a:rPr lang="ru-RU" sz="1800" b="0" dirty="0" smtClean="0">
                <a:solidFill>
                  <a:srgbClr val="000000"/>
                </a:solidFill>
              </a:rPr>
              <a:t>АЛТА имеет твердую репутацию надежного и уважаемого партнера в сфере производства, инжиниринга и торговли </a:t>
            </a:r>
            <a:endParaRPr lang="en-US" sz="1800" b="0" dirty="0" smtClean="0">
              <a:solidFill>
                <a:srgbClr val="000000"/>
              </a:solidFill>
            </a:endParaRPr>
          </a:p>
          <a:p>
            <a:pPr>
              <a:lnSpc>
                <a:spcPct val="80000"/>
              </a:lnSpc>
            </a:pPr>
            <a:endParaRPr lang="en-US" sz="1800" b="0" dirty="0" smtClean="0">
              <a:solidFill>
                <a:srgbClr val="000000"/>
              </a:solidFill>
            </a:endParaRPr>
          </a:p>
          <a:p>
            <a:pPr>
              <a:lnSpc>
                <a:spcPct val="80000"/>
              </a:lnSpc>
            </a:pPr>
            <a:r>
              <a:rPr lang="ru-RU" sz="1800" b="0" dirty="0" smtClean="0">
                <a:solidFill>
                  <a:srgbClr val="000000"/>
                </a:solidFill>
              </a:rPr>
              <a:t>АЛТА ведет свою деятельность на мировом рынке; особое значение уделяется России, Украине, Республике Беларусь и другим странам СНГ </a:t>
            </a:r>
          </a:p>
          <a:p>
            <a:pPr>
              <a:lnSpc>
                <a:spcPct val="80000"/>
              </a:lnSpc>
            </a:pPr>
            <a:endParaRPr lang="en-US" sz="1800" b="0" dirty="0" smtClean="0">
              <a:solidFill>
                <a:srgbClr val="000000"/>
              </a:solidFill>
            </a:endParaRPr>
          </a:p>
          <a:p>
            <a:pPr>
              <a:lnSpc>
                <a:spcPct val="80000"/>
              </a:lnSpc>
            </a:pPr>
            <a:r>
              <a:rPr lang="ru-RU" sz="1800" b="0" dirty="0" smtClean="0">
                <a:solidFill>
                  <a:srgbClr val="000000"/>
                </a:solidFill>
              </a:rPr>
              <a:t>С момента основания АЛТА специализируется на поставках технологического оборудования для машиностроения, металлургии,</a:t>
            </a:r>
            <a:r>
              <a:rPr lang="cs-CZ" sz="1800" b="0" dirty="0" smtClean="0">
                <a:solidFill>
                  <a:srgbClr val="000000"/>
                </a:solidFill>
              </a:rPr>
              <a:t> </a:t>
            </a:r>
            <a:r>
              <a:rPr lang="ru-RU" sz="1800" b="0" dirty="0" smtClean="0">
                <a:solidFill>
                  <a:srgbClr val="000000"/>
                </a:solidFill>
              </a:rPr>
              <a:t>авиации, горнодобывающей и химической промышленности, энергетического сектора</a:t>
            </a:r>
            <a:endParaRPr lang="en-US" sz="1800" b="0" dirty="0" smtClean="0">
              <a:solidFill>
                <a:srgbClr val="000000"/>
              </a:solidFill>
            </a:endParaRPr>
          </a:p>
          <a:p>
            <a:pPr>
              <a:lnSpc>
                <a:spcPct val="80000"/>
              </a:lnSpc>
            </a:pPr>
            <a:r>
              <a:rPr lang="ru-RU" sz="1800" b="0" dirty="0" smtClean="0">
                <a:solidFill>
                  <a:srgbClr val="000000"/>
                </a:solidFill>
              </a:rPr>
              <a:t>АЛТА также является значимым оператором на рынке сырья</a:t>
            </a:r>
            <a:endParaRPr lang="en-US" sz="1800" b="0" dirty="0" smtClean="0">
              <a:solidFill>
                <a:srgbClr val="000000"/>
              </a:solidFill>
            </a:endParaRPr>
          </a:p>
          <a:p>
            <a:pPr>
              <a:lnSpc>
                <a:spcPct val="80000"/>
              </a:lnSpc>
            </a:pPr>
            <a:endParaRPr lang="en-US" sz="1800" b="0" dirty="0" smtClean="0">
              <a:solidFill>
                <a:srgbClr val="000000"/>
              </a:solidFill>
            </a:endParaRPr>
          </a:p>
          <a:p>
            <a:pPr>
              <a:lnSpc>
                <a:spcPct val="80000"/>
              </a:lnSpc>
            </a:pPr>
            <a:r>
              <a:rPr lang="ru-RU" sz="1800" b="0" dirty="0" smtClean="0">
                <a:solidFill>
                  <a:srgbClr val="000000"/>
                </a:solidFill>
              </a:rPr>
              <a:t>АЛТА имеет 1200 сотрудников; годовой оборот достигает 600 млн. Евро</a:t>
            </a:r>
            <a:endParaRPr lang="ru-RU" sz="1800" b="0" dirty="0" smtClean="0"/>
          </a:p>
        </p:txBody>
      </p:sp>
      <p:sp>
        <p:nvSpPr>
          <p:cNvPr id="12293" name="Rectangle 3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ru-RU" smtClean="0"/>
              <a:t>Общая информация</a:t>
            </a:r>
            <a:endParaRPr lang="ru-RU" noProof="1" smtClean="0"/>
          </a:p>
        </p:txBody>
      </p:sp>
      <p:pic>
        <p:nvPicPr>
          <p:cNvPr id="6" name="Obrázek 3" descr="ALTA_logo_barevn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78812" y="6237287"/>
            <a:ext cx="865188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Zástupný symbol pro zápatí 1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r>
              <a:rPr lang="ru-RU">
                <a:latin typeface="Arial" charset="0"/>
              </a:rPr>
              <a:t>Страница</a:t>
            </a:r>
            <a:r>
              <a:rPr lang="de-DE">
                <a:latin typeface="Arial" charset="0"/>
              </a:rPr>
              <a:t> </a:t>
            </a:r>
            <a:r>
              <a:rPr lang="de-DE">
                <a:latin typeface="Arial" charset="0"/>
                <a:sym typeface="Wingdings" pitchFamily="2" charset="2"/>
              </a:rPr>
              <a:t></a:t>
            </a:r>
            <a:r>
              <a:rPr lang="de-DE">
                <a:latin typeface="Arial" charset="0"/>
              </a:rPr>
              <a:t> </a:t>
            </a:r>
            <a:fld id="{B818AA2C-344B-4B87-8423-E841FEDDE368}" type="slidenum">
              <a:rPr lang="de-DE">
                <a:latin typeface="Arial" charset="0"/>
              </a:rPr>
              <a:pPr/>
              <a:t>20</a:t>
            </a:fld>
            <a:endParaRPr lang="de-DE">
              <a:latin typeface="Arial" charset="0"/>
            </a:endParaRPr>
          </a:p>
        </p:txBody>
      </p:sp>
      <p:sp>
        <p:nvSpPr>
          <p:cNvPr id="66563" name="Text Box 68"/>
          <p:cNvSpPr txBox="1">
            <a:spLocks noChangeArrowheads="1"/>
          </p:cNvSpPr>
          <p:nvPr/>
        </p:nvSpPr>
        <p:spPr bwMode="auto">
          <a:xfrm>
            <a:off x="3390900" y="1847850"/>
            <a:ext cx="1905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0"/>
              </a:spcBef>
              <a:buClrTx/>
              <a:buFontTx/>
              <a:buNone/>
            </a:pPr>
            <a:endParaRPr lang="cs-CZ" sz="800" b="1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66564" name="TextovéPole 1"/>
          <p:cNvSpPr txBox="1">
            <a:spLocks noChangeArrowheads="1"/>
          </p:cNvSpPr>
          <p:nvPr/>
        </p:nvSpPr>
        <p:spPr bwMode="auto">
          <a:xfrm>
            <a:off x="404813" y="5683250"/>
            <a:ext cx="6818312" cy="512763"/>
          </a:xfrm>
          <a:prstGeom prst="rect">
            <a:avLst/>
          </a:prstGeom>
          <a:solidFill>
            <a:schemeClr val="accent1">
              <a:alpha val="25882"/>
            </a:schemeClr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r>
              <a:rPr lang="ru-RU" sz="1400" b="1">
                <a:solidFill>
                  <a:srgbClr val="000000"/>
                </a:solidFill>
                <a:cs typeface="Arial" charset="0"/>
              </a:rPr>
              <a:t>Лимиты поставок от суммы контракта:</a:t>
            </a:r>
            <a:endParaRPr lang="cs-CZ" sz="1400" b="1">
              <a:solidFill>
                <a:srgbClr val="000000"/>
              </a:solidFill>
              <a:cs typeface="Arial" charset="0"/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ru-RU" sz="1300">
                <a:solidFill>
                  <a:srgbClr val="000000"/>
                </a:solidFill>
                <a:cs typeface="Arial" charset="0"/>
              </a:rPr>
              <a:t>Чехия: минимально 50%</a:t>
            </a:r>
            <a:r>
              <a:rPr lang="cs-CZ" sz="1300">
                <a:solidFill>
                  <a:srgbClr val="000000"/>
                </a:solidFill>
                <a:cs typeface="Arial" charset="0"/>
              </a:rPr>
              <a:t>   </a:t>
            </a:r>
            <a:r>
              <a:rPr lang="ru-RU" sz="1300">
                <a:solidFill>
                  <a:srgbClr val="000000"/>
                </a:solidFill>
                <a:cs typeface="Arial" charset="0"/>
              </a:rPr>
              <a:t>/</a:t>
            </a:r>
            <a:r>
              <a:rPr lang="cs-CZ" sz="1300">
                <a:solidFill>
                  <a:srgbClr val="000000"/>
                </a:solidFill>
                <a:cs typeface="Arial" charset="0"/>
              </a:rPr>
              <a:t>  </a:t>
            </a:r>
            <a:r>
              <a:rPr lang="ru-RU" sz="1300">
                <a:solidFill>
                  <a:srgbClr val="000000"/>
                </a:solidFill>
                <a:cs typeface="Arial" charset="0"/>
              </a:rPr>
              <a:t> Местные: максимально 23%   /</a:t>
            </a:r>
            <a:r>
              <a:rPr lang="cs-CZ" sz="1300">
                <a:solidFill>
                  <a:srgbClr val="000000"/>
                </a:solidFill>
                <a:cs typeface="Arial" charset="0"/>
              </a:rPr>
              <a:t>   </a:t>
            </a:r>
            <a:r>
              <a:rPr lang="ru-RU" sz="1300">
                <a:solidFill>
                  <a:srgbClr val="000000"/>
                </a:solidFill>
                <a:cs typeface="Arial" charset="0"/>
              </a:rPr>
              <a:t>Третьи страны: до 27%</a:t>
            </a:r>
            <a:endParaRPr lang="cs-CZ" sz="13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6565" name="Zástupný symbol pro zápatí 1"/>
          <p:cNvSpPr txBox="1">
            <a:spLocks noGrp="1"/>
          </p:cNvSpPr>
          <p:nvPr/>
        </p:nvSpPr>
        <p:spPr bwMode="gray">
          <a:xfrm>
            <a:off x="219075" y="6408738"/>
            <a:ext cx="13430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1000">
              <a:solidFill>
                <a:srgbClr val="000000"/>
              </a:solidFill>
            </a:endParaRPr>
          </a:p>
        </p:txBody>
      </p:sp>
      <p:sp>
        <p:nvSpPr>
          <p:cNvPr id="66566" name="Rectangle 37"/>
          <p:cNvSpPr>
            <a:spLocks noChangeArrowheads="1"/>
          </p:cNvSpPr>
          <p:nvPr/>
        </p:nvSpPr>
        <p:spPr bwMode="gray">
          <a:xfrm>
            <a:off x="404813" y="752475"/>
            <a:ext cx="1719262" cy="768350"/>
          </a:xfrm>
          <a:prstGeom prst="rect">
            <a:avLst/>
          </a:prstGeom>
          <a:solidFill>
            <a:srgbClr val="00486C"/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01688" eaLnBrk="0" hangingPunct="0">
              <a:spcBef>
                <a:spcPct val="0"/>
              </a:spcBef>
              <a:buClrTx/>
              <a:buFontTx/>
              <a:buNone/>
            </a:pPr>
            <a:r>
              <a:rPr lang="ru-RU" sz="1400" b="1">
                <a:solidFill>
                  <a:srgbClr val="FFFFFF"/>
                </a:solidFill>
              </a:rPr>
              <a:t>Генеральный проектировщик</a:t>
            </a:r>
            <a:endParaRPr lang="ru-RU" sz="1400" b="1" noProof="1">
              <a:solidFill>
                <a:srgbClr val="FFFFFF"/>
              </a:solidFill>
            </a:endParaRPr>
          </a:p>
        </p:txBody>
      </p:sp>
      <p:sp>
        <p:nvSpPr>
          <p:cNvPr id="66567" name="Rectangle 38"/>
          <p:cNvSpPr>
            <a:spLocks noChangeArrowheads="1"/>
          </p:cNvSpPr>
          <p:nvPr/>
        </p:nvSpPr>
        <p:spPr bwMode="gray">
          <a:xfrm>
            <a:off x="3706813" y="2324100"/>
            <a:ext cx="1719262" cy="777875"/>
          </a:xfrm>
          <a:prstGeom prst="rect">
            <a:avLst/>
          </a:prstGeom>
          <a:solidFill>
            <a:srgbClr val="005782"/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01688" eaLnBrk="0" hangingPunct="0">
              <a:spcBef>
                <a:spcPct val="0"/>
              </a:spcBef>
              <a:buClrTx/>
              <a:buFontTx/>
              <a:buNone/>
            </a:pPr>
            <a:r>
              <a:rPr lang="ru-RU" b="1" dirty="0">
                <a:solidFill>
                  <a:srgbClr val="FFFFFF"/>
                </a:solidFill>
              </a:rPr>
              <a:t>АО «АЛТА»</a:t>
            </a:r>
            <a:endParaRPr lang="ru-RU" b="1" noProof="1">
              <a:solidFill>
                <a:srgbClr val="FFFFFF"/>
              </a:solidFill>
            </a:endParaRPr>
          </a:p>
        </p:txBody>
      </p:sp>
      <p:sp>
        <p:nvSpPr>
          <p:cNvPr id="66568" name="Rectangle 39"/>
          <p:cNvSpPr>
            <a:spLocks noChangeArrowheads="1"/>
          </p:cNvSpPr>
          <p:nvPr/>
        </p:nvSpPr>
        <p:spPr bwMode="gray">
          <a:xfrm>
            <a:off x="3706812" y="3524250"/>
            <a:ext cx="1997951" cy="819150"/>
          </a:xfrm>
          <a:prstGeom prst="rect">
            <a:avLst/>
          </a:prstGeom>
          <a:solidFill>
            <a:srgbClr val="006699"/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01688" eaLnBrk="0" hangingPunct="0">
              <a:spcBef>
                <a:spcPct val="0"/>
              </a:spcBef>
              <a:buClrTx/>
              <a:buFontTx/>
              <a:buNone/>
            </a:pPr>
            <a:r>
              <a:rPr lang="ru-RU" b="1" dirty="0">
                <a:solidFill>
                  <a:srgbClr val="FFFFFF"/>
                </a:solidFill>
              </a:rPr>
              <a:t>ООО «АЛТА-РУСЬ»</a:t>
            </a:r>
            <a:br>
              <a:rPr lang="ru-RU" b="1" dirty="0">
                <a:solidFill>
                  <a:srgbClr val="FFFFFF"/>
                </a:solidFill>
              </a:rPr>
            </a:br>
            <a:endParaRPr lang="ru-RU" b="1" noProof="1">
              <a:solidFill>
                <a:srgbClr val="FFFFFF"/>
              </a:solidFill>
            </a:endParaRPr>
          </a:p>
        </p:txBody>
      </p:sp>
      <p:sp>
        <p:nvSpPr>
          <p:cNvPr id="66569" name="Rectangle 40"/>
          <p:cNvSpPr>
            <a:spLocks noChangeArrowheads="1"/>
          </p:cNvSpPr>
          <p:nvPr/>
        </p:nvSpPr>
        <p:spPr bwMode="gray">
          <a:xfrm>
            <a:off x="6045200" y="4810125"/>
            <a:ext cx="1524000" cy="636588"/>
          </a:xfrm>
          <a:prstGeom prst="rect">
            <a:avLst/>
          </a:prstGeom>
          <a:solidFill>
            <a:srgbClr val="0075B0"/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01688" eaLnBrk="0" hangingPunct="0">
              <a:spcBef>
                <a:spcPct val="0"/>
              </a:spcBef>
              <a:buClrTx/>
              <a:buFontTx/>
              <a:buNone/>
            </a:pPr>
            <a:r>
              <a:rPr lang="ru-RU" sz="1200" b="1">
                <a:solidFill>
                  <a:srgbClr val="FFFFFF"/>
                </a:solidFill>
              </a:rPr>
              <a:t>Поставки из третих стран</a:t>
            </a:r>
            <a:endParaRPr lang="ru-RU" sz="1200" b="1" noProof="1">
              <a:solidFill>
                <a:srgbClr val="FFFFFF"/>
              </a:solidFill>
            </a:endParaRPr>
          </a:p>
        </p:txBody>
      </p:sp>
      <p:sp>
        <p:nvSpPr>
          <p:cNvPr id="618537" name="AutoShape 41"/>
          <p:cNvSpPr>
            <a:spLocks noChangeArrowheads="1"/>
          </p:cNvSpPr>
          <p:nvPr/>
        </p:nvSpPr>
        <p:spPr bwMode="gray">
          <a:xfrm flipV="1">
            <a:off x="2911475" y="793750"/>
            <a:ext cx="679450" cy="698500"/>
          </a:xfrm>
          <a:prstGeom prst="rightArrow">
            <a:avLst>
              <a:gd name="adj1" fmla="val 55000"/>
              <a:gd name="adj2" fmla="val 63606"/>
            </a:avLst>
          </a:prstGeom>
          <a:gradFill rotWithShape="1">
            <a:gsLst>
              <a:gs pos="0">
                <a:srgbClr val="EAEAEA"/>
              </a:gs>
              <a:gs pos="100000">
                <a:srgbClr val="969696"/>
              </a:gs>
            </a:gsLst>
            <a:lin ang="0" scaled="1"/>
          </a:gradFill>
          <a:ln w="28575">
            <a:solidFill>
              <a:srgbClr val="FFFFFF"/>
            </a:solidFill>
            <a:miter lim="800000"/>
            <a:headEnd/>
            <a:tailEnd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</p:spPr>
        <p:txBody>
          <a:bodyPr rot="10800000" lIns="324000" tIns="0" rIns="0" bIns="0" anchor="ctr"/>
          <a:lstStyle/>
          <a:p>
            <a:pPr algn="ctr" eaLnBrk="0" hangingPunct="0">
              <a:spcBef>
                <a:spcPct val="0"/>
              </a:spcBef>
              <a:buClrTx/>
              <a:buFontTx/>
              <a:buNone/>
              <a:defRPr/>
            </a:pPr>
            <a:endParaRPr lang="cs-CZ" sz="1800" noProof="1">
              <a:latin typeface="Arial" pitchFamily="34" charset="0"/>
            </a:endParaRPr>
          </a:p>
        </p:txBody>
      </p:sp>
      <p:sp>
        <p:nvSpPr>
          <p:cNvPr id="66571" name="Rectangle 44"/>
          <p:cNvSpPr>
            <a:spLocks noChangeArrowheads="1"/>
          </p:cNvSpPr>
          <p:nvPr/>
        </p:nvSpPr>
        <p:spPr bwMode="gray">
          <a:xfrm>
            <a:off x="3706813" y="758825"/>
            <a:ext cx="1719262" cy="768350"/>
          </a:xfrm>
          <a:prstGeom prst="rect">
            <a:avLst/>
          </a:prstGeom>
          <a:solidFill>
            <a:srgbClr val="00486C"/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01688" eaLnBrk="0" hangingPunct="0">
              <a:spcBef>
                <a:spcPct val="0"/>
              </a:spcBef>
              <a:buClrTx/>
              <a:buFontTx/>
              <a:buNone/>
            </a:pPr>
            <a:r>
              <a:rPr lang="ru-RU" sz="1400" b="1">
                <a:solidFill>
                  <a:srgbClr val="FFFFFF"/>
                </a:solidFill>
              </a:rPr>
              <a:t>Заказчик (заемщик)</a:t>
            </a:r>
            <a:endParaRPr lang="ru-RU" sz="1400" b="1" noProof="1">
              <a:solidFill>
                <a:srgbClr val="FFFFFF"/>
              </a:solidFill>
            </a:endParaRPr>
          </a:p>
        </p:txBody>
      </p:sp>
      <p:sp>
        <p:nvSpPr>
          <p:cNvPr id="66572" name="Rectangle 45"/>
          <p:cNvSpPr>
            <a:spLocks noChangeArrowheads="1"/>
          </p:cNvSpPr>
          <p:nvPr/>
        </p:nvSpPr>
        <p:spPr bwMode="gray">
          <a:xfrm>
            <a:off x="7043738" y="752475"/>
            <a:ext cx="1719262" cy="768350"/>
          </a:xfrm>
          <a:prstGeom prst="rect">
            <a:avLst/>
          </a:prstGeom>
          <a:solidFill>
            <a:srgbClr val="00486C"/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01688" eaLnBrk="0" hangingPunct="0">
              <a:spcBef>
                <a:spcPct val="0"/>
              </a:spcBef>
              <a:buClrTx/>
              <a:buFontTx/>
              <a:buNone/>
            </a:pPr>
            <a:r>
              <a:rPr lang="ru-RU" sz="1400" b="1" noProof="1" smtClean="0">
                <a:solidFill>
                  <a:srgbClr val="FFFFFF"/>
                </a:solidFill>
              </a:rPr>
              <a:t>Европейский банк</a:t>
            </a:r>
            <a:endParaRPr lang="ru-RU" sz="1400" b="1" noProof="1">
              <a:solidFill>
                <a:srgbClr val="FFFFFF"/>
              </a:solidFill>
            </a:endParaRPr>
          </a:p>
        </p:txBody>
      </p:sp>
      <p:sp>
        <p:nvSpPr>
          <p:cNvPr id="618543" name="AutoShape 47"/>
          <p:cNvSpPr>
            <a:spLocks noChangeArrowheads="1"/>
          </p:cNvSpPr>
          <p:nvPr/>
        </p:nvSpPr>
        <p:spPr bwMode="gray">
          <a:xfrm rot="10800000" flipV="1">
            <a:off x="2181225" y="803275"/>
            <a:ext cx="679450" cy="698500"/>
          </a:xfrm>
          <a:prstGeom prst="rightArrow">
            <a:avLst>
              <a:gd name="adj1" fmla="val 55000"/>
              <a:gd name="adj2" fmla="val 63606"/>
            </a:avLst>
          </a:prstGeom>
          <a:gradFill rotWithShape="1">
            <a:gsLst>
              <a:gs pos="0">
                <a:srgbClr val="EAEAEA"/>
              </a:gs>
              <a:gs pos="100000">
                <a:srgbClr val="969696"/>
              </a:gs>
            </a:gsLst>
            <a:lin ang="0" scaled="1"/>
          </a:gradFill>
          <a:ln w="28575">
            <a:solidFill>
              <a:srgbClr val="FFFFFF"/>
            </a:solidFill>
            <a:miter lim="800000"/>
            <a:headEnd/>
            <a:tailEnd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</p:spPr>
        <p:txBody>
          <a:bodyPr lIns="324000" tIns="0" rIns="0" bIns="0" anchor="ctr"/>
          <a:lstStyle/>
          <a:p>
            <a:pPr algn="ctr" eaLnBrk="0" hangingPunct="0">
              <a:spcBef>
                <a:spcPct val="0"/>
              </a:spcBef>
              <a:buClrTx/>
              <a:buFontTx/>
              <a:buNone/>
              <a:defRPr/>
            </a:pPr>
            <a:endParaRPr lang="cs-CZ" sz="1800" noProof="1">
              <a:latin typeface="Arial" pitchFamily="34" charset="0"/>
            </a:endParaRPr>
          </a:p>
        </p:txBody>
      </p:sp>
      <p:sp>
        <p:nvSpPr>
          <p:cNvPr id="618544" name="AutoShape 48"/>
          <p:cNvSpPr>
            <a:spLocks noChangeArrowheads="1"/>
          </p:cNvSpPr>
          <p:nvPr/>
        </p:nvSpPr>
        <p:spPr bwMode="gray">
          <a:xfrm flipV="1">
            <a:off x="6240463" y="758825"/>
            <a:ext cx="679450" cy="698500"/>
          </a:xfrm>
          <a:prstGeom prst="rightArrow">
            <a:avLst>
              <a:gd name="adj1" fmla="val 55000"/>
              <a:gd name="adj2" fmla="val 63606"/>
            </a:avLst>
          </a:prstGeom>
          <a:gradFill rotWithShape="1">
            <a:gsLst>
              <a:gs pos="0">
                <a:srgbClr val="EAEAEA"/>
              </a:gs>
              <a:gs pos="100000">
                <a:srgbClr val="969696"/>
              </a:gs>
            </a:gsLst>
            <a:lin ang="0" scaled="1"/>
          </a:gradFill>
          <a:ln w="28575">
            <a:solidFill>
              <a:srgbClr val="FFFFFF"/>
            </a:solidFill>
            <a:miter lim="800000"/>
            <a:headEnd/>
            <a:tailEnd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</p:spPr>
        <p:txBody>
          <a:bodyPr rot="10800000" lIns="324000" tIns="0" rIns="0" bIns="0" anchor="ctr"/>
          <a:lstStyle/>
          <a:p>
            <a:pPr algn="ctr" eaLnBrk="0" hangingPunct="0">
              <a:spcBef>
                <a:spcPct val="0"/>
              </a:spcBef>
              <a:buClrTx/>
              <a:buFontTx/>
              <a:buNone/>
              <a:defRPr/>
            </a:pPr>
            <a:endParaRPr lang="cs-CZ" sz="1800" noProof="1">
              <a:latin typeface="Arial" pitchFamily="34" charset="0"/>
            </a:endParaRPr>
          </a:p>
        </p:txBody>
      </p:sp>
      <p:sp>
        <p:nvSpPr>
          <p:cNvPr id="618545" name="AutoShape 49"/>
          <p:cNvSpPr>
            <a:spLocks noChangeArrowheads="1"/>
          </p:cNvSpPr>
          <p:nvPr/>
        </p:nvSpPr>
        <p:spPr bwMode="gray">
          <a:xfrm rot="10800000" flipV="1">
            <a:off x="5510213" y="768350"/>
            <a:ext cx="679450" cy="698500"/>
          </a:xfrm>
          <a:prstGeom prst="rightArrow">
            <a:avLst>
              <a:gd name="adj1" fmla="val 55000"/>
              <a:gd name="adj2" fmla="val 63606"/>
            </a:avLst>
          </a:prstGeom>
          <a:gradFill rotWithShape="1">
            <a:gsLst>
              <a:gs pos="0">
                <a:srgbClr val="EAEAEA"/>
              </a:gs>
              <a:gs pos="100000">
                <a:srgbClr val="969696"/>
              </a:gs>
            </a:gsLst>
            <a:lin ang="0" scaled="1"/>
          </a:gradFill>
          <a:ln w="28575">
            <a:solidFill>
              <a:srgbClr val="FFFFFF"/>
            </a:solidFill>
            <a:miter lim="800000"/>
            <a:headEnd/>
            <a:tailEnd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</p:spPr>
        <p:txBody>
          <a:bodyPr lIns="324000" tIns="0" rIns="0" bIns="0" anchor="ctr"/>
          <a:lstStyle/>
          <a:p>
            <a:pPr algn="ctr" eaLnBrk="0" hangingPunct="0">
              <a:spcBef>
                <a:spcPct val="0"/>
              </a:spcBef>
              <a:buClrTx/>
              <a:buFontTx/>
              <a:buNone/>
              <a:defRPr/>
            </a:pPr>
            <a:endParaRPr lang="cs-CZ" sz="1800" noProof="1">
              <a:latin typeface="Arial" pitchFamily="34" charset="0"/>
            </a:endParaRPr>
          </a:p>
        </p:txBody>
      </p:sp>
      <p:sp>
        <p:nvSpPr>
          <p:cNvPr id="66576" name="Rectangle 50"/>
          <p:cNvSpPr>
            <a:spLocks noChangeArrowheads="1"/>
          </p:cNvSpPr>
          <p:nvPr/>
        </p:nvSpPr>
        <p:spPr bwMode="gray">
          <a:xfrm>
            <a:off x="7034213" y="2333625"/>
            <a:ext cx="1719262" cy="777875"/>
          </a:xfrm>
          <a:prstGeom prst="rect">
            <a:avLst/>
          </a:prstGeom>
          <a:solidFill>
            <a:srgbClr val="005782"/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01688" eaLnBrk="0" hangingPunct="0">
              <a:spcBef>
                <a:spcPct val="0"/>
              </a:spcBef>
              <a:buClrTx/>
              <a:buFontTx/>
              <a:buNone/>
            </a:pPr>
            <a:r>
              <a:rPr lang="ru-RU" b="1">
                <a:solidFill>
                  <a:srgbClr val="FFFFFF"/>
                </a:solidFill>
              </a:rPr>
              <a:t>ЭГАП</a:t>
            </a:r>
            <a:endParaRPr lang="ru-RU" b="1" noProof="1">
              <a:solidFill>
                <a:srgbClr val="FFFFFF"/>
              </a:solidFill>
            </a:endParaRPr>
          </a:p>
        </p:txBody>
      </p:sp>
      <p:sp>
        <p:nvSpPr>
          <p:cNvPr id="66577" name="Rectangle 51"/>
          <p:cNvSpPr>
            <a:spLocks noChangeArrowheads="1"/>
          </p:cNvSpPr>
          <p:nvPr/>
        </p:nvSpPr>
        <p:spPr bwMode="gray">
          <a:xfrm>
            <a:off x="4276725" y="4810125"/>
            <a:ext cx="1524000" cy="636588"/>
          </a:xfrm>
          <a:prstGeom prst="rect">
            <a:avLst/>
          </a:prstGeom>
          <a:solidFill>
            <a:srgbClr val="0075B0"/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01688" eaLnBrk="0" hangingPunct="0">
              <a:spcBef>
                <a:spcPct val="0"/>
              </a:spcBef>
              <a:buClrTx/>
              <a:buFontTx/>
              <a:buNone/>
            </a:pPr>
            <a:r>
              <a:rPr lang="ru-RU" sz="1200" b="1">
                <a:solidFill>
                  <a:srgbClr val="FFFFFF"/>
                </a:solidFill>
              </a:rPr>
              <a:t>Местные поставщики оборудования</a:t>
            </a:r>
            <a:endParaRPr lang="ru-RU" sz="1200" b="1" noProof="1">
              <a:solidFill>
                <a:srgbClr val="FFFFFF"/>
              </a:solidFill>
            </a:endParaRPr>
          </a:p>
        </p:txBody>
      </p:sp>
      <p:sp>
        <p:nvSpPr>
          <p:cNvPr id="66578" name="Rectangle 52"/>
          <p:cNvSpPr>
            <a:spLocks noChangeArrowheads="1"/>
          </p:cNvSpPr>
          <p:nvPr/>
        </p:nvSpPr>
        <p:spPr bwMode="gray">
          <a:xfrm>
            <a:off x="2505075" y="4810125"/>
            <a:ext cx="1524000" cy="636588"/>
          </a:xfrm>
          <a:prstGeom prst="rect">
            <a:avLst/>
          </a:prstGeom>
          <a:solidFill>
            <a:srgbClr val="0075B0"/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01688" eaLnBrk="0" hangingPunct="0">
              <a:spcBef>
                <a:spcPct val="0"/>
              </a:spcBef>
              <a:buClrTx/>
              <a:buFontTx/>
              <a:buNone/>
            </a:pPr>
            <a:r>
              <a:rPr lang="ru-RU" sz="1200" b="1">
                <a:solidFill>
                  <a:srgbClr val="FFFFFF"/>
                </a:solidFill>
              </a:rPr>
              <a:t>Субподрядчик по строймонтажу</a:t>
            </a:r>
            <a:endParaRPr lang="ru-RU" sz="1200" b="1" noProof="1">
              <a:solidFill>
                <a:srgbClr val="FFFFFF"/>
              </a:solidFill>
            </a:endParaRPr>
          </a:p>
        </p:txBody>
      </p:sp>
      <p:sp>
        <p:nvSpPr>
          <p:cNvPr id="66579" name="Rectangle 53"/>
          <p:cNvSpPr>
            <a:spLocks noChangeArrowheads="1"/>
          </p:cNvSpPr>
          <p:nvPr/>
        </p:nvSpPr>
        <p:spPr bwMode="gray">
          <a:xfrm>
            <a:off x="404813" y="4810125"/>
            <a:ext cx="1524000" cy="636588"/>
          </a:xfrm>
          <a:prstGeom prst="rect">
            <a:avLst/>
          </a:prstGeom>
          <a:solidFill>
            <a:srgbClr val="0075B0"/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01688" eaLnBrk="0" hangingPunct="0">
              <a:spcBef>
                <a:spcPct val="0"/>
              </a:spcBef>
              <a:buClrTx/>
              <a:buFontTx/>
              <a:buNone/>
            </a:pPr>
            <a:r>
              <a:rPr lang="ru-RU" sz="1200" b="1">
                <a:solidFill>
                  <a:srgbClr val="FFFFFF"/>
                </a:solidFill>
              </a:rPr>
              <a:t>Генеральный проектировщик</a:t>
            </a:r>
            <a:endParaRPr lang="ru-RU" sz="1200" b="1" noProof="1">
              <a:solidFill>
                <a:srgbClr val="FFFFFF"/>
              </a:solidFill>
            </a:endParaRPr>
          </a:p>
        </p:txBody>
      </p:sp>
      <p:sp>
        <p:nvSpPr>
          <p:cNvPr id="618550" name="AutoShape 54"/>
          <p:cNvSpPr>
            <a:spLocks noChangeArrowheads="1"/>
          </p:cNvSpPr>
          <p:nvPr/>
        </p:nvSpPr>
        <p:spPr bwMode="gray">
          <a:xfrm rot="5400000" flipV="1">
            <a:off x="7227888" y="1931987"/>
            <a:ext cx="349250" cy="358775"/>
          </a:xfrm>
          <a:prstGeom prst="rightArrow">
            <a:avLst>
              <a:gd name="adj1" fmla="val 55000"/>
              <a:gd name="adj2" fmla="val 63606"/>
            </a:avLst>
          </a:prstGeom>
          <a:gradFill rotWithShape="1">
            <a:gsLst>
              <a:gs pos="0">
                <a:srgbClr val="EAEAEA"/>
              </a:gs>
              <a:gs pos="100000">
                <a:srgbClr val="969696"/>
              </a:gs>
            </a:gsLst>
            <a:lin ang="0" scaled="1"/>
          </a:gradFill>
          <a:ln w="28575">
            <a:solidFill>
              <a:srgbClr val="FFFFFF"/>
            </a:solidFill>
            <a:miter lim="800000"/>
            <a:headEnd/>
            <a:tailEnd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</p:spPr>
        <p:txBody>
          <a:bodyPr vert="eaVert" lIns="324000" tIns="0" rIns="0" bIns="0" anchor="ctr"/>
          <a:lstStyle/>
          <a:p>
            <a:pPr algn="ctr" eaLnBrk="0" hangingPunct="0">
              <a:spcBef>
                <a:spcPct val="0"/>
              </a:spcBef>
              <a:buClrTx/>
              <a:buFontTx/>
              <a:buNone/>
              <a:defRPr/>
            </a:pPr>
            <a:endParaRPr lang="cs-CZ" sz="1800" noProof="1">
              <a:latin typeface="Arial" pitchFamily="34" charset="0"/>
            </a:endParaRPr>
          </a:p>
        </p:txBody>
      </p:sp>
      <p:sp>
        <p:nvSpPr>
          <p:cNvPr id="618551" name="AutoShape 55"/>
          <p:cNvSpPr>
            <a:spLocks noChangeArrowheads="1"/>
          </p:cNvSpPr>
          <p:nvPr/>
        </p:nvSpPr>
        <p:spPr bwMode="gray">
          <a:xfrm rot="16200000" flipV="1">
            <a:off x="7224713" y="1535112"/>
            <a:ext cx="349250" cy="358775"/>
          </a:xfrm>
          <a:prstGeom prst="rightArrow">
            <a:avLst>
              <a:gd name="adj1" fmla="val 55000"/>
              <a:gd name="adj2" fmla="val 63606"/>
            </a:avLst>
          </a:prstGeom>
          <a:gradFill rotWithShape="1">
            <a:gsLst>
              <a:gs pos="0">
                <a:srgbClr val="EAEAEA"/>
              </a:gs>
              <a:gs pos="100000">
                <a:srgbClr val="969696"/>
              </a:gs>
            </a:gsLst>
            <a:lin ang="0" scaled="1"/>
          </a:gradFill>
          <a:ln w="28575">
            <a:solidFill>
              <a:srgbClr val="FFFFFF"/>
            </a:solidFill>
            <a:miter lim="800000"/>
            <a:headEnd/>
            <a:tailEnd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</p:spPr>
        <p:txBody>
          <a:bodyPr rot="10800000" vert="eaVert" lIns="324000" tIns="0" rIns="0" bIns="0" anchor="ctr"/>
          <a:lstStyle/>
          <a:p>
            <a:pPr algn="ctr" eaLnBrk="0" hangingPunct="0">
              <a:spcBef>
                <a:spcPct val="0"/>
              </a:spcBef>
              <a:buClrTx/>
              <a:buFontTx/>
              <a:buNone/>
              <a:defRPr/>
            </a:pPr>
            <a:endParaRPr lang="cs-CZ" sz="1800" noProof="1">
              <a:latin typeface="Arial" pitchFamily="34" charset="0"/>
            </a:endParaRPr>
          </a:p>
        </p:txBody>
      </p:sp>
      <p:sp>
        <p:nvSpPr>
          <p:cNvPr id="618552" name="AutoShape 56"/>
          <p:cNvSpPr>
            <a:spLocks noChangeArrowheads="1"/>
          </p:cNvSpPr>
          <p:nvPr/>
        </p:nvSpPr>
        <p:spPr bwMode="gray">
          <a:xfrm rot="5400000" flipV="1">
            <a:off x="3922713" y="1931987"/>
            <a:ext cx="349250" cy="358775"/>
          </a:xfrm>
          <a:prstGeom prst="rightArrow">
            <a:avLst>
              <a:gd name="adj1" fmla="val 55000"/>
              <a:gd name="adj2" fmla="val 63606"/>
            </a:avLst>
          </a:prstGeom>
          <a:gradFill rotWithShape="1">
            <a:gsLst>
              <a:gs pos="0">
                <a:srgbClr val="EAEAEA"/>
              </a:gs>
              <a:gs pos="100000">
                <a:srgbClr val="969696"/>
              </a:gs>
            </a:gsLst>
            <a:lin ang="0" scaled="1"/>
          </a:gradFill>
          <a:ln w="28575">
            <a:solidFill>
              <a:srgbClr val="FFFFFF"/>
            </a:solidFill>
            <a:miter lim="800000"/>
            <a:headEnd/>
            <a:tailEnd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</p:spPr>
        <p:txBody>
          <a:bodyPr vert="eaVert" lIns="324000" tIns="0" rIns="0" bIns="0" anchor="ctr"/>
          <a:lstStyle/>
          <a:p>
            <a:pPr algn="ctr" eaLnBrk="0" hangingPunct="0">
              <a:spcBef>
                <a:spcPct val="0"/>
              </a:spcBef>
              <a:buClrTx/>
              <a:buFontTx/>
              <a:buNone/>
              <a:defRPr/>
            </a:pPr>
            <a:endParaRPr lang="cs-CZ" sz="1800" noProof="1">
              <a:latin typeface="Arial" pitchFamily="34" charset="0"/>
            </a:endParaRPr>
          </a:p>
        </p:txBody>
      </p:sp>
      <p:sp>
        <p:nvSpPr>
          <p:cNvPr id="618553" name="AutoShape 57"/>
          <p:cNvSpPr>
            <a:spLocks noChangeArrowheads="1"/>
          </p:cNvSpPr>
          <p:nvPr/>
        </p:nvSpPr>
        <p:spPr bwMode="gray">
          <a:xfrm rot="16200000" flipV="1">
            <a:off x="3919538" y="1535112"/>
            <a:ext cx="349250" cy="358775"/>
          </a:xfrm>
          <a:prstGeom prst="rightArrow">
            <a:avLst>
              <a:gd name="adj1" fmla="val 55000"/>
              <a:gd name="adj2" fmla="val 63606"/>
            </a:avLst>
          </a:prstGeom>
          <a:gradFill rotWithShape="1">
            <a:gsLst>
              <a:gs pos="0">
                <a:srgbClr val="EAEAEA"/>
              </a:gs>
              <a:gs pos="100000">
                <a:srgbClr val="969696"/>
              </a:gs>
            </a:gsLst>
            <a:lin ang="0" scaled="1"/>
          </a:gradFill>
          <a:ln w="28575">
            <a:solidFill>
              <a:srgbClr val="FFFFFF"/>
            </a:solidFill>
            <a:miter lim="800000"/>
            <a:headEnd/>
            <a:tailEnd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</p:spPr>
        <p:txBody>
          <a:bodyPr rot="10800000" vert="eaVert" lIns="324000" tIns="0" rIns="0" bIns="0" anchor="ctr"/>
          <a:lstStyle/>
          <a:p>
            <a:pPr algn="ctr" eaLnBrk="0" hangingPunct="0">
              <a:spcBef>
                <a:spcPct val="0"/>
              </a:spcBef>
              <a:buClrTx/>
              <a:buFontTx/>
              <a:buNone/>
              <a:defRPr/>
            </a:pPr>
            <a:endParaRPr lang="cs-CZ" sz="1800" noProof="1">
              <a:latin typeface="Arial" pitchFamily="34" charset="0"/>
            </a:endParaRPr>
          </a:p>
        </p:txBody>
      </p:sp>
      <p:sp>
        <p:nvSpPr>
          <p:cNvPr id="618554" name="AutoShape 58"/>
          <p:cNvSpPr>
            <a:spLocks noChangeArrowheads="1"/>
          </p:cNvSpPr>
          <p:nvPr/>
        </p:nvSpPr>
        <p:spPr bwMode="gray">
          <a:xfrm rot="5400000" flipV="1">
            <a:off x="4294188" y="3116262"/>
            <a:ext cx="349250" cy="358775"/>
          </a:xfrm>
          <a:prstGeom prst="rightArrow">
            <a:avLst>
              <a:gd name="adj1" fmla="val 55000"/>
              <a:gd name="adj2" fmla="val 63606"/>
            </a:avLst>
          </a:prstGeom>
          <a:gradFill rotWithShape="1">
            <a:gsLst>
              <a:gs pos="0">
                <a:srgbClr val="EAEAEA"/>
              </a:gs>
              <a:gs pos="100000">
                <a:srgbClr val="969696"/>
              </a:gs>
            </a:gsLst>
            <a:lin ang="0" scaled="1"/>
          </a:gradFill>
          <a:ln w="28575">
            <a:solidFill>
              <a:srgbClr val="FFFFFF"/>
            </a:solidFill>
            <a:miter lim="800000"/>
            <a:headEnd/>
            <a:tailEnd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</p:spPr>
        <p:txBody>
          <a:bodyPr vert="eaVert" lIns="324000" tIns="0" rIns="0" bIns="0" anchor="ctr"/>
          <a:lstStyle/>
          <a:p>
            <a:pPr algn="ctr" eaLnBrk="0" hangingPunct="0">
              <a:spcBef>
                <a:spcPct val="0"/>
              </a:spcBef>
              <a:buClrTx/>
              <a:buFontTx/>
              <a:buNone/>
              <a:defRPr/>
            </a:pPr>
            <a:endParaRPr lang="cs-CZ" sz="1800" noProof="1">
              <a:latin typeface="Arial" pitchFamily="34" charset="0"/>
            </a:endParaRPr>
          </a:p>
        </p:txBody>
      </p:sp>
      <p:sp>
        <p:nvSpPr>
          <p:cNvPr id="618555" name="AutoShape 59"/>
          <p:cNvSpPr>
            <a:spLocks noChangeArrowheads="1"/>
          </p:cNvSpPr>
          <p:nvPr/>
        </p:nvSpPr>
        <p:spPr bwMode="gray">
          <a:xfrm flipV="1">
            <a:off x="5451475" y="2544763"/>
            <a:ext cx="1033463" cy="358775"/>
          </a:xfrm>
          <a:prstGeom prst="rightArrow">
            <a:avLst>
              <a:gd name="adj1" fmla="val 49565"/>
              <a:gd name="adj2" fmla="val 63932"/>
            </a:avLst>
          </a:prstGeom>
          <a:gradFill rotWithShape="1">
            <a:gsLst>
              <a:gs pos="0">
                <a:srgbClr val="EAEAEA"/>
              </a:gs>
              <a:gs pos="100000">
                <a:srgbClr val="969696"/>
              </a:gs>
            </a:gsLst>
            <a:lin ang="0" scaled="1"/>
          </a:gradFill>
          <a:ln w="28575">
            <a:solidFill>
              <a:srgbClr val="FFFFFF"/>
            </a:solidFill>
            <a:miter lim="800000"/>
            <a:headEnd/>
            <a:tailEnd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</p:spPr>
        <p:txBody>
          <a:bodyPr rot="10800000" lIns="324000" tIns="0" rIns="0" bIns="0" anchor="ctr"/>
          <a:lstStyle/>
          <a:p>
            <a:pPr algn="ctr" eaLnBrk="0" hangingPunct="0">
              <a:spcBef>
                <a:spcPct val="0"/>
              </a:spcBef>
              <a:buClrTx/>
              <a:buFontTx/>
              <a:buNone/>
              <a:defRPr/>
            </a:pPr>
            <a:endParaRPr lang="cs-CZ" sz="1800" noProof="1">
              <a:latin typeface="Arial" pitchFamily="34" charset="0"/>
            </a:endParaRPr>
          </a:p>
        </p:txBody>
      </p:sp>
      <p:sp>
        <p:nvSpPr>
          <p:cNvPr id="618556" name="AutoShape 60"/>
          <p:cNvSpPr>
            <a:spLocks noChangeArrowheads="1"/>
          </p:cNvSpPr>
          <p:nvPr/>
        </p:nvSpPr>
        <p:spPr bwMode="gray">
          <a:xfrm rot="5400000" flipV="1">
            <a:off x="5572920" y="3634581"/>
            <a:ext cx="1935162" cy="358775"/>
          </a:xfrm>
          <a:prstGeom prst="rightArrow">
            <a:avLst>
              <a:gd name="adj1" fmla="val 50444"/>
              <a:gd name="adj2" fmla="val 70419"/>
            </a:avLst>
          </a:prstGeom>
          <a:gradFill rotWithShape="1">
            <a:gsLst>
              <a:gs pos="0">
                <a:srgbClr val="EAEAEA"/>
              </a:gs>
              <a:gs pos="100000">
                <a:srgbClr val="969696"/>
              </a:gs>
            </a:gsLst>
            <a:lin ang="0" scaled="1"/>
          </a:gradFill>
          <a:ln w="28575">
            <a:solidFill>
              <a:srgbClr val="FFFFFF"/>
            </a:solidFill>
            <a:miter lim="800000"/>
            <a:headEnd/>
            <a:tailEnd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</p:spPr>
        <p:txBody>
          <a:bodyPr vert="eaVert" lIns="324000" tIns="0" rIns="0" bIns="0" anchor="ctr"/>
          <a:lstStyle/>
          <a:p>
            <a:pPr algn="ctr" eaLnBrk="0" hangingPunct="0">
              <a:spcBef>
                <a:spcPct val="0"/>
              </a:spcBef>
              <a:buClrTx/>
              <a:buFontTx/>
              <a:buNone/>
              <a:defRPr/>
            </a:pPr>
            <a:endParaRPr lang="cs-CZ" sz="1800" noProof="1">
              <a:latin typeface="Arial" pitchFamily="34" charset="0"/>
            </a:endParaRPr>
          </a:p>
        </p:txBody>
      </p:sp>
      <p:sp>
        <p:nvSpPr>
          <p:cNvPr id="618557" name="AutoShape 61"/>
          <p:cNvSpPr>
            <a:spLocks noChangeArrowheads="1"/>
          </p:cNvSpPr>
          <p:nvPr/>
        </p:nvSpPr>
        <p:spPr bwMode="gray">
          <a:xfrm rot="10800000" flipV="1">
            <a:off x="1104900" y="2541588"/>
            <a:ext cx="2517775" cy="358775"/>
          </a:xfrm>
          <a:prstGeom prst="rightArrow">
            <a:avLst>
              <a:gd name="adj1" fmla="val 50444"/>
              <a:gd name="adj2" fmla="val 69917"/>
            </a:avLst>
          </a:prstGeom>
          <a:gradFill rotWithShape="1">
            <a:gsLst>
              <a:gs pos="0">
                <a:srgbClr val="EAEAEA"/>
              </a:gs>
              <a:gs pos="100000">
                <a:srgbClr val="969696"/>
              </a:gs>
            </a:gsLst>
            <a:lin ang="0" scaled="1"/>
          </a:gradFill>
          <a:ln w="28575">
            <a:solidFill>
              <a:srgbClr val="FFFFFF"/>
            </a:solidFill>
            <a:miter lim="800000"/>
            <a:headEnd/>
            <a:tailEnd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</p:spPr>
        <p:txBody>
          <a:bodyPr lIns="324000" tIns="0" rIns="0" bIns="0" anchor="ctr"/>
          <a:lstStyle/>
          <a:p>
            <a:pPr algn="ctr" eaLnBrk="0" hangingPunct="0">
              <a:spcBef>
                <a:spcPct val="0"/>
              </a:spcBef>
              <a:buClrTx/>
              <a:buFontTx/>
              <a:buNone/>
              <a:defRPr/>
            </a:pPr>
            <a:endParaRPr lang="cs-CZ" sz="1800" noProof="1">
              <a:latin typeface="Arial" pitchFamily="34" charset="0"/>
            </a:endParaRPr>
          </a:p>
        </p:txBody>
      </p:sp>
      <p:sp>
        <p:nvSpPr>
          <p:cNvPr id="618558" name="AutoShape 62"/>
          <p:cNvSpPr>
            <a:spLocks noChangeArrowheads="1"/>
          </p:cNvSpPr>
          <p:nvPr/>
        </p:nvSpPr>
        <p:spPr bwMode="gray">
          <a:xfrm rot="5400000" flipV="1">
            <a:off x="71438" y="3630612"/>
            <a:ext cx="1943100" cy="358775"/>
          </a:xfrm>
          <a:prstGeom prst="rightArrow">
            <a:avLst>
              <a:gd name="adj1" fmla="val 50444"/>
              <a:gd name="adj2" fmla="val 70708"/>
            </a:avLst>
          </a:prstGeom>
          <a:gradFill rotWithShape="1">
            <a:gsLst>
              <a:gs pos="0">
                <a:srgbClr val="EAEAEA"/>
              </a:gs>
              <a:gs pos="100000">
                <a:srgbClr val="969696"/>
              </a:gs>
            </a:gsLst>
            <a:lin ang="0" scaled="1"/>
          </a:gradFill>
          <a:ln w="28575">
            <a:solidFill>
              <a:srgbClr val="FFFFFF"/>
            </a:solidFill>
            <a:miter lim="800000"/>
            <a:headEnd/>
            <a:tailEnd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</p:spPr>
        <p:txBody>
          <a:bodyPr vert="eaVert" lIns="324000" tIns="0" rIns="0" bIns="0" anchor="ctr"/>
          <a:lstStyle/>
          <a:p>
            <a:pPr algn="ctr" eaLnBrk="0" hangingPunct="0">
              <a:spcBef>
                <a:spcPct val="0"/>
              </a:spcBef>
              <a:buClrTx/>
              <a:buFontTx/>
              <a:buNone/>
              <a:defRPr/>
            </a:pPr>
            <a:endParaRPr lang="cs-CZ" sz="1800" noProof="1">
              <a:latin typeface="Arial" pitchFamily="34" charset="0"/>
            </a:endParaRPr>
          </a:p>
        </p:txBody>
      </p:sp>
      <p:sp>
        <p:nvSpPr>
          <p:cNvPr id="66589" name="Text Box 63"/>
          <p:cNvSpPr txBox="1">
            <a:spLocks noChangeArrowheads="1"/>
          </p:cNvSpPr>
          <p:nvPr/>
        </p:nvSpPr>
        <p:spPr bwMode="gray">
          <a:xfrm>
            <a:off x="6510338" y="4310063"/>
            <a:ext cx="1425575" cy="48418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108000" tIns="108000" rIns="72000" bIns="72000">
            <a:spAutoFit/>
          </a:bodyPr>
          <a:lstStyle/>
          <a:p>
            <a:pPr marL="190500" indent="-190500" algn="ctr">
              <a:spcBef>
                <a:spcPct val="50000"/>
              </a:spcBef>
              <a:buFont typeface="Wingdings" pitchFamily="2" charset="2"/>
              <a:buNone/>
            </a:pPr>
            <a:r>
              <a:rPr lang="ru-RU" sz="1000" b="1"/>
              <a:t>договор</a:t>
            </a:r>
            <a:br>
              <a:rPr lang="ru-RU" sz="1000" b="1"/>
            </a:br>
            <a:r>
              <a:rPr lang="ru-RU" sz="1000" b="1"/>
              <a:t>с поставщиками</a:t>
            </a:r>
            <a:endParaRPr lang="cs-CZ" sz="1000" b="1"/>
          </a:p>
        </p:txBody>
      </p:sp>
      <p:sp>
        <p:nvSpPr>
          <p:cNvPr id="618560" name="AutoShape 64"/>
          <p:cNvSpPr>
            <a:spLocks noChangeArrowheads="1"/>
          </p:cNvSpPr>
          <p:nvPr/>
        </p:nvSpPr>
        <p:spPr bwMode="gray">
          <a:xfrm rot="5400000" flipV="1">
            <a:off x="4329113" y="4376737"/>
            <a:ext cx="349250" cy="358775"/>
          </a:xfrm>
          <a:prstGeom prst="rightArrow">
            <a:avLst>
              <a:gd name="adj1" fmla="val 55000"/>
              <a:gd name="adj2" fmla="val 63606"/>
            </a:avLst>
          </a:prstGeom>
          <a:gradFill rotWithShape="1">
            <a:gsLst>
              <a:gs pos="0">
                <a:srgbClr val="EAEAEA"/>
              </a:gs>
              <a:gs pos="100000">
                <a:srgbClr val="969696"/>
              </a:gs>
            </a:gsLst>
            <a:lin ang="0" scaled="1"/>
          </a:gradFill>
          <a:ln w="28575">
            <a:solidFill>
              <a:srgbClr val="FFFFFF"/>
            </a:solidFill>
            <a:miter lim="800000"/>
            <a:headEnd/>
            <a:tailEnd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</p:spPr>
        <p:txBody>
          <a:bodyPr vert="eaVert" lIns="324000" tIns="0" rIns="0" bIns="0" anchor="ctr"/>
          <a:lstStyle/>
          <a:p>
            <a:pPr algn="ctr" eaLnBrk="0" hangingPunct="0">
              <a:spcBef>
                <a:spcPct val="0"/>
              </a:spcBef>
              <a:buClrTx/>
              <a:buFontTx/>
              <a:buNone/>
              <a:defRPr/>
            </a:pPr>
            <a:endParaRPr lang="cs-CZ" sz="1800" noProof="1">
              <a:latin typeface="Arial" pitchFamily="34" charset="0"/>
            </a:endParaRPr>
          </a:p>
        </p:txBody>
      </p:sp>
      <p:sp>
        <p:nvSpPr>
          <p:cNvPr id="66591" name="Text Box 65"/>
          <p:cNvSpPr txBox="1">
            <a:spLocks noChangeArrowheads="1"/>
          </p:cNvSpPr>
          <p:nvPr/>
        </p:nvSpPr>
        <p:spPr bwMode="gray">
          <a:xfrm>
            <a:off x="7292975" y="1619250"/>
            <a:ext cx="1425575" cy="4841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108000" tIns="108000" rIns="72000" bIns="72000" anchor="ctr">
            <a:spAutoFit/>
          </a:bodyPr>
          <a:lstStyle/>
          <a:p>
            <a:pPr marL="190500" indent="-190500" algn="ctr">
              <a:spcBef>
                <a:spcPct val="50000"/>
              </a:spcBef>
              <a:buFont typeface="Wingdings" pitchFamily="2" charset="2"/>
              <a:buNone/>
            </a:pPr>
            <a:r>
              <a:rPr lang="ru-RU" sz="1000" b="1"/>
              <a:t>договор</a:t>
            </a:r>
            <a:br>
              <a:rPr lang="ru-RU" sz="1000" b="1"/>
            </a:br>
            <a:r>
              <a:rPr lang="ru-RU" sz="1000" b="1"/>
              <a:t>страхования</a:t>
            </a:r>
            <a:endParaRPr lang="cs-CZ" sz="1000" b="1"/>
          </a:p>
        </p:txBody>
      </p:sp>
      <p:sp>
        <p:nvSpPr>
          <p:cNvPr id="66592" name="Text Box 66"/>
          <p:cNvSpPr txBox="1">
            <a:spLocks noChangeArrowheads="1"/>
          </p:cNvSpPr>
          <p:nvPr/>
        </p:nvSpPr>
        <p:spPr bwMode="gray">
          <a:xfrm>
            <a:off x="2281238" y="4325938"/>
            <a:ext cx="1425575" cy="48418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108000" tIns="108000" rIns="72000" bIns="72000">
            <a:spAutoFit/>
          </a:bodyPr>
          <a:lstStyle/>
          <a:p>
            <a:pPr marL="190500" indent="-190500" algn="ctr">
              <a:spcBef>
                <a:spcPct val="50000"/>
              </a:spcBef>
              <a:buFont typeface="Wingdings" pitchFamily="2" charset="2"/>
              <a:buNone/>
            </a:pPr>
            <a:r>
              <a:rPr lang="ru-RU" sz="1000" b="1"/>
              <a:t>договор</a:t>
            </a:r>
            <a:br>
              <a:rPr lang="ru-RU" sz="1000" b="1"/>
            </a:br>
            <a:r>
              <a:rPr lang="ru-RU" sz="1000" b="1"/>
              <a:t>субподряда</a:t>
            </a:r>
            <a:endParaRPr lang="cs-CZ" sz="1000" b="1"/>
          </a:p>
        </p:txBody>
      </p:sp>
      <p:sp>
        <p:nvSpPr>
          <p:cNvPr id="66593" name="Text Box 67"/>
          <p:cNvSpPr txBox="1">
            <a:spLocks noChangeArrowheads="1"/>
          </p:cNvSpPr>
          <p:nvPr/>
        </p:nvSpPr>
        <p:spPr bwMode="gray">
          <a:xfrm>
            <a:off x="949325" y="4173538"/>
            <a:ext cx="1425575" cy="63658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108000" tIns="108000" rIns="72000" bIns="72000">
            <a:spAutoFit/>
          </a:bodyPr>
          <a:lstStyle/>
          <a:p>
            <a:pPr marL="190500" indent="-190500" algn="ctr">
              <a:spcBef>
                <a:spcPct val="50000"/>
              </a:spcBef>
              <a:buFont typeface="Wingdings" pitchFamily="2" charset="2"/>
              <a:buNone/>
            </a:pPr>
            <a:r>
              <a:rPr lang="ru-RU" sz="1000" b="1"/>
              <a:t>договор</a:t>
            </a:r>
            <a:br>
              <a:rPr lang="ru-RU" sz="1000" b="1"/>
            </a:br>
            <a:r>
              <a:rPr lang="ru-RU" sz="1000" b="1"/>
              <a:t>на рабочее проектирование</a:t>
            </a:r>
            <a:endParaRPr lang="cs-CZ" sz="1000" b="1"/>
          </a:p>
        </p:txBody>
      </p:sp>
      <p:sp>
        <p:nvSpPr>
          <p:cNvPr id="618564" name="AutoShape 68"/>
          <p:cNvSpPr>
            <a:spLocks noChangeArrowheads="1"/>
          </p:cNvSpPr>
          <p:nvPr/>
        </p:nvSpPr>
        <p:spPr bwMode="gray">
          <a:xfrm rot="5400000" flipV="1">
            <a:off x="3629026" y="4408487"/>
            <a:ext cx="349250" cy="358775"/>
          </a:xfrm>
          <a:prstGeom prst="rightArrow">
            <a:avLst>
              <a:gd name="adj1" fmla="val 55000"/>
              <a:gd name="adj2" fmla="val 63606"/>
            </a:avLst>
          </a:prstGeom>
          <a:gradFill rotWithShape="1">
            <a:gsLst>
              <a:gs pos="0">
                <a:srgbClr val="EAEAEA"/>
              </a:gs>
              <a:gs pos="100000">
                <a:srgbClr val="969696"/>
              </a:gs>
            </a:gsLst>
            <a:lin ang="0" scaled="1"/>
          </a:gradFill>
          <a:ln w="28575">
            <a:solidFill>
              <a:srgbClr val="FFFFFF"/>
            </a:solidFill>
            <a:miter lim="800000"/>
            <a:headEnd/>
            <a:tailEnd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</p:spPr>
        <p:txBody>
          <a:bodyPr vert="eaVert" lIns="324000" tIns="0" rIns="0" bIns="0" anchor="ctr"/>
          <a:lstStyle/>
          <a:p>
            <a:pPr algn="ctr" eaLnBrk="0" hangingPunct="0">
              <a:spcBef>
                <a:spcPct val="0"/>
              </a:spcBef>
              <a:buClrTx/>
              <a:buFontTx/>
              <a:buNone/>
              <a:defRPr/>
            </a:pPr>
            <a:endParaRPr lang="cs-CZ" sz="1800" noProof="1">
              <a:latin typeface="Arial" pitchFamily="34" charset="0"/>
            </a:endParaRPr>
          </a:p>
        </p:txBody>
      </p:sp>
      <p:sp>
        <p:nvSpPr>
          <p:cNvPr id="66595" name="Text Box 69"/>
          <p:cNvSpPr txBox="1">
            <a:spLocks noChangeArrowheads="1"/>
          </p:cNvSpPr>
          <p:nvPr/>
        </p:nvSpPr>
        <p:spPr bwMode="gray">
          <a:xfrm>
            <a:off x="4468813" y="4325938"/>
            <a:ext cx="1425575" cy="48418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108000" tIns="108000" rIns="72000" bIns="72000">
            <a:spAutoFit/>
          </a:bodyPr>
          <a:lstStyle/>
          <a:p>
            <a:pPr marL="190500" indent="-190500" algn="ctr">
              <a:spcBef>
                <a:spcPct val="50000"/>
              </a:spcBef>
              <a:buFont typeface="Wingdings" pitchFamily="2" charset="2"/>
              <a:buNone/>
            </a:pPr>
            <a:r>
              <a:rPr lang="ru-RU" sz="1000" b="1"/>
              <a:t>договор</a:t>
            </a:r>
            <a:br>
              <a:rPr lang="ru-RU" sz="1000" b="1"/>
            </a:br>
            <a:r>
              <a:rPr lang="ru-RU" sz="1000" b="1"/>
              <a:t>с поставщиками</a:t>
            </a:r>
            <a:endParaRPr lang="cs-CZ" sz="1000" b="1"/>
          </a:p>
        </p:txBody>
      </p:sp>
      <p:sp>
        <p:nvSpPr>
          <p:cNvPr id="66596" name="Text Box 70"/>
          <p:cNvSpPr txBox="1">
            <a:spLocks noChangeArrowheads="1"/>
          </p:cNvSpPr>
          <p:nvPr/>
        </p:nvSpPr>
        <p:spPr bwMode="gray">
          <a:xfrm>
            <a:off x="5510213" y="1501775"/>
            <a:ext cx="1425575" cy="4841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108000" tIns="108000" rIns="72000" bIns="72000" anchor="ctr">
            <a:spAutoFit/>
          </a:bodyPr>
          <a:lstStyle/>
          <a:p>
            <a:pPr marL="190500" indent="-190500" algn="ctr">
              <a:spcBef>
                <a:spcPct val="50000"/>
              </a:spcBef>
              <a:buFont typeface="Wingdings" pitchFamily="2" charset="2"/>
              <a:buNone/>
            </a:pPr>
            <a:r>
              <a:rPr lang="ru-RU" sz="1000" b="1"/>
              <a:t>кредитный договор</a:t>
            </a:r>
            <a:endParaRPr lang="cs-CZ" sz="1000" b="1"/>
          </a:p>
        </p:txBody>
      </p:sp>
      <p:sp>
        <p:nvSpPr>
          <p:cNvPr id="66597" name="Text Box 71"/>
          <p:cNvSpPr txBox="1">
            <a:spLocks noChangeArrowheads="1"/>
          </p:cNvSpPr>
          <p:nvPr/>
        </p:nvSpPr>
        <p:spPr bwMode="gray">
          <a:xfrm>
            <a:off x="4059238" y="1744663"/>
            <a:ext cx="1425575" cy="33178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108000" tIns="108000" rIns="72000" bIns="72000" anchor="ctr">
            <a:spAutoFit/>
          </a:bodyPr>
          <a:lstStyle/>
          <a:p>
            <a:pPr marL="190500" indent="-190500" algn="ctr">
              <a:spcBef>
                <a:spcPct val="50000"/>
              </a:spcBef>
              <a:buFont typeface="Wingdings" pitchFamily="2" charset="2"/>
              <a:buNone/>
            </a:pPr>
            <a:r>
              <a:rPr lang="ru-RU" sz="1000" b="1"/>
              <a:t>ЕРС контракт</a:t>
            </a:r>
            <a:endParaRPr lang="cs-CZ" sz="1000" b="1"/>
          </a:p>
        </p:txBody>
      </p:sp>
      <p:sp>
        <p:nvSpPr>
          <p:cNvPr id="66598" name="Text Box 72"/>
          <p:cNvSpPr txBox="1">
            <a:spLocks noChangeArrowheads="1"/>
          </p:cNvSpPr>
          <p:nvPr/>
        </p:nvSpPr>
        <p:spPr bwMode="gray">
          <a:xfrm>
            <a:off x="2179638" y="1528763"/>
            <a:ext cx="1425575" cy="48418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108000" tIns="108000" rIns="72000" bIns="72000">
            <a:spAutoFit/>
          </a:bodyPr>
          <a:lstStyle/>
          <a:p>
            <a:pPr marL="190500" indent="-190500" algn="ctr">
              <a:spcBef>
                <a:spcPct val="50000"/>
              </a:spcBef>
              <a:buFont typeface="Wingdings" pitchFamily="2" charset="2"/>
              <a:buNone/>
            </a:pPr>
            <a:r>
              <a:rPr lang="ru-RU" sz="1000" b="1"/>
              <a:t>проект для гос. экспертизы</a:t>
            </a:r>
            <a:endParaRPr lang="cs-CZ" sz="1000" b="1"/>
          </a:p>
        </p:txBody>
      </p:sp>
      <p:sp>
        <p:nvSpPr>
          <p:cNvPr id="66599" name="Rectangle 73"/>
          <p:cNvSpPr>
            <a:spLocks noChangeArrowheads="1"/>
          </p:cNvSpPr>
          <p:nvPr/>
        </p:nvSpPr>
        <p:spPr bwMode="gray">
          <a:xfrm>
            <a:off x="314325" y="82550"/>
            <a:ext cx="8524875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eaLnBrk="0" hangingPunct="0">
              <a:lnSpc>
                <a:spcPct val="95000"/>
              </a:lnSpc>
              <a:spcBef>
                <a:spcPct val="0"/>
              </a:spcBef>
              <a:buClrTx/>
              <a:buFontTx/>
              <a:buNone/>
            </a:pPr>
            <a:r>
              <a:rPr lang="ru-RU" sz="2400" b="1"/>
              <a:t>Основная схема реализации ЕРС контрактов</a:t>
            </a:r>
            <a:endParaRPr lang="ru-RU" sz="2400" b="1" noProof="1"/>
          </a:p>
        </p:txBody>
      </p:sp>
      <p:pic>
        <p:nvPicPr>
          <p:cNvPr id="40" name="Obrázek 3" descr="ALTA_logo_barevn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78812" y="6237287"/>
            <a:ext cx="865188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Zástupný symbol pro zápatí 1"/>
          <p:cNvSpPr>
            <a:spLocks noGrp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60000"/>
              </a:spcBef>
              <a:buClr>
                <a:schemeClr val="accent1"/>
              </a:buClr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accent1"/>
              </a:buClr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accent1"/>
              </a:buClr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accent1"/>
              </a:buClr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Clr>
                <a:schemeClr val="accent1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</a:pPr>
            <a:r>
              <a:rPr lang="ru-RU" altLang="ru-RU" sz="1000" smtClean="0"/>
              <a:t>Страница</a:t>
            </a:r>
            <a:r>
              <a:rPr lang="de-DE" altLang="ru-RU" sz="1000" smtClean="0"/>
              <a:t> </a:t>
            </a:r>
            <a:r>
              <a:rPr lang="de-DE" altLang="ru-RU" sz="1000" smtClean="0">
                <a:sym typeface="Wingdings" pitchFamily="2" charset="2"/>
              </a:rPr>
              <a:t></a:t>
            </a:r>
            <a:r>
              <a:rPr lang="de-DE" altLang="ru-RU" sz="1000" smtClean="0"/>
              <a:t> </a:t>
            </a:r>
            <a:fld id="{DE6251B2-D277-449B-BCD4-B37D283CEB4D}" type="slidenum">
              <a:rPr lang="de-DE" altLang="ru-RU" sz="1000" smtClean="0"/>
              <a:pPr eaLnBrk="1" hangingPunct="1">
                <a:spcBef>
                  <a:spcPct val="0"/>
                </a:spcBef>
                <a:buClrTx/>
              </a:pPr>
              <a:t>21</a:t>
            </a:fld>
            <a:endParaRPr lang="de-DE" altLang="ru-RU" sz="1000" smtClean="0"/>
          </a:p>
        </p:txBody>
      </p:sp>
      <p:sp>
        <p:nvSpPr>
          <p:cNvPr id="65600" name="Rectangle 92"/>
          <p:cNvSpPr>
            <a:spLocks noGrp="1" noChangeArrowheads="1"/>
          </p:cNvSpPr>
          <p:nvPr>
            <p:ph type="title" idx="4294967295"/>
          </p:nvPr>
        </p:nvSpPr>
        <p:spPr>
          <a:xfrm>
            <a:off x="314325" y="82550"/>
            <a:ext cx="8524875" cy="773235"/>
          </a:xfrm>
        </p:spPr>
        <p:txBody>
          <a:bodyPr/>
          <a:lstStyle/>
          <a:p>
            <a:pPr algn="ctr"/>
            <a:r>
              <a:rPr lang="ru-RU" altLang="ru-RU" dirty="0" smtClean="0"/>
              <a:t>Некоторые </a:t>
            </a:r>
            <a:r>
              <a:rPr lang="ru-RU" altLang="ru-RU" dirty="0"/>
              <a:t>з</a:t>
            </a:r>
            <a:r>
              <a:rPr lang="ru-RU" dirty="0" smtClean="0"/>
              <a:t>начительные проекты</a:t>
            </a:r>
            <a:r>
              <a:rPr lang="ru-RU" altLang="ru-RU" dirty="0" smtClean="0"/>
              <a:t> группы компании             АО «АЛТА» в АВИАЦИИ</a:t>
            </a:r>
            <a:endParaRPr lang="ru-RU" altLang="ru-RU" noProof="1" smtClean="0"/>
          </a:p>
        </p:txBody>
      </p:sp>
      <p:sp>
        <p:nvSpPr>
          <p:cNvPr id="65601" name="Zástupný symbol pro zápatí 1"/>
          <p:cNvSpPr txBox="1">
            <a:spLocks noGrp="1"/>
          </p:cNvSpPr>
          <p:nvPr/>
        </p:nvSpPr>
        <p:spPr bwMode="gray">
          <a:xfrm>
            <a:off x="219075" y="6408738"/>
            <a:ext cx="134302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60000"/>
              </a:spcBef>
              <a:buClr>
                <a:schemeClr val="accent1"/>
              </a:buClr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accent1"/>
              </a:buClr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accent1"/>
              </a:buClr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accent1"/>
              </a:buClr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Clr>
                <a:schemeClr val="accent1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de-DE" altLang="ru-RU" sz="1000" b="0">
              <a:solidFill>
                <a:srgbClr val="000000"/>
              </a:solidFill>
            </a:endParaRPr>
          </a:p>
        </p:txBody>
      </p:sp>
      <p:sp>
        <p:nvSpPr>
          <p:cNvPr id="6" name="Zástupný symbol pro obsah 2"/>
          <p:cNvSpPr txBox="1">
            <a:spLocks/>
          </p:cNvSpPr>
          <p:nvPr/>
        </p:nvSpPr>
        <p:spPr>
          <a:xfrm>
            <a:off x="82062" y="1031632"/>
            <a:ext cx="8932983" cy="4973882"/>
          </a:xfrm>
          <a:prstGeom prst="rect">
            <a:avLst/>
          </a:prstGeom>
        </p:spPr>
        <p:txBody>
          <a:bodyPr/>
          <a:lstStyle>
            <a:lvl1pPr marL="190500" indent="-190500" algn="l" rtl="0" eaLnBrk="0" fontAlgn="base" hangingPunct="0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000" indent="-188913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2pPr>
            <a:lvl3pPr marL="561975" indent="-179388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768350" indent="-204788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4pPr>
            <a:lvl5pPr marL="1050925" indent="-168275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508125" indent="-168275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1965325" indent="-168275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422525" indent="-168275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2879725" indent="-168275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>
              <a:spcBef>
                <a:spcPct val="20000"/>
              </a:spcBef>
              <a:buNone/>
            </a:pPr>
            <a:r>
              <a:rPr lang="ru-RU" sz="1800" dirty="0"/>
              <a:t>ГП АНТК имени Антонова, Киев (Украина), </a:t>
            </a:r>
            <a:r>
              <a:rPr lang="ru-RU" sz="1800" b="0" dirty="0"/>
              <a:t>Металлообрабатывающее оборудование - токарные станки и обрабатывающие центры</a:t>
            </a:r>
            <a:endParaRPr lang="cs-CZ" sz="1800" b="0" dirty="0" smtClean="0"/>
          </a:p>
          <a:p>
            <a:pPr marL="0" lvl="0" indent="0">
              <a:spcBef>
                <a:spcPct val="20000"/>
              </a:spcBef>
              <a:buNone/>
            </a:pPr>
            <a:r>
              <a:rPr lang="ru-RU" sz="1800" dirty="0" smtClean="0"/>
              <a:t>ОАО </a:t>
            </a:r>
            <a:r>
              <a:rPr lang="ru-RU" sz="1800" dirty="0"/>
              <a:t>НПК Иркут, Иркутск (РФ), </a:t>
            </a:r>
            <a:r>
              <a:rPr lang="ru-RU" sz="1800" b="0" dirty="0"/>
              <a:t>Поставка </a:t>
            </a:r>
            <a:r>
              <a:rPr lang="ru-RU" sz="1800" b="0" dirty="0" smtClean="0"/>
              <a:t>лакокрасочной,  </a:t>
            </a:r>
            <a:r>
              <a:rPr lang="ru-RU" sz="1800" b="0" dirty="0"/>
              <a:t>гальванической </a:t>
            </a:r>
            <a:r>
              <a:rPr lang="ru-RU" sz="1800" b="0" dirty="0" smtClean="0"/>
              <a:t> и капиллярной линий,   </a:t>
            </a:r>
            <a:r>
              <a:rPr lang="ru-RU" sz="1800" b="0" dirty="0"/>
              <a:t>металлообрабатывающих </a:t>
            </a:r>
            <a:r>
              <a:rPr lang="ru-RU" sz="1800" b="0" dirty="0" smtClean="0"/>
              <a:t>станков – </a:t>
            </a:r>
            <a:r>
              <a:rPr lang="cs-CZ" sz="1800" b="0" dirty="0" smtClean="0"/>
              <a:t>2005 – 2006</a:t>
            </a:r>
          </a:p>
          <a:p>
            <a:pPr marL="0" lvl="0" indent="0">
              <a:spcBef>
                <a:spcPct val="20000"/>
              </a:spcBef>
              <a:buNone/>
            </a:pPr>
            <a:r>
              <a:rPr lang="ru-RU" sz="1800" dirty="0"/>
              <a:t>ОАО Корпорация ВСМПО-АВИСМА, Верхняя Салда (РФ), </a:t>
            </a:r>
            <a:r>
              <a:rPr lang="ru-RU" sz="1800" b="0" dirty="0"/>
              <a:t>Поставка станков для обработки титановых </a:t>
            </a:r>
            <a:r>
              <a:rPr lang="ru-RU" sz="1800" b="0" dirty="0" smtClean="0"/>
              <a:t>поковок</a:t>
            </a:r>
            <a:r>
              <a:rPr lang="cs-CZ" sz="1800" b="0" dirty="0" smtClean="0"/>
              <a:t> </a:t>
            </a:r>
            <a:r>
              <a:rPr lang="ru-RU" sz="1800" b="0" dirty="0" smtClean="0"/>
              <a:t>2004–2005</a:t>
            </a:r>
            <a:r>
              <a:rPr lang="cs-CZ" sz="1800" b="0" dirty="0" smtClean="0"/>
              <a:t>, 2014-2015</a:t>
            </a:r>
          </a:p>
          <a:p>
            <a:pPr marL="0" lvl="0" indent="0">
              <a:spcBef>
                <a:spcPct val="20000"/>
              </a:spcBef>
              <a:buNone/>
            </a:pPr>
            <a:r>
              <a:rPr lang="ru-RU" sz="1800" dirty="0"/>
              <a:t>OAO Климов, Санкт Петербург (РФ), </a:t>
            </a:r>
            <a:r>
              <a:rPr lang="ru-RU" sz="1800" b="0" dirty="0" smtClean="0"/>
              <a:t>Гальванические линии</a:t>
            </a:r>
            <a:r>
              <a:rPr lang="cs-CZ" sz="1800" b="0" dirty="0" smtClean="0"/>
              <a:t>, </a:t>
            </a:r>
            <a:r>
              <a:rPr lang="ru-RU" sz="1800" b="0" dirty="0" smtClean="0"/>
              <a:t>капиллярная </a:t>
            </a:r>
            <a:r>
              <a:rPr lang="ru-RU" sz="1800" b="0" dirty="0" smtClean="0"/>
              <a:t>линия и </a:t>
            </a:r>
            <a:r>
              <a:rPr lang="ru-RU" sz="1800" b="0" dirty="0" smtClean="0"/>
              <a:t>металлообрабатывающие </a:t>
            </a:r>
            <a:r>
              <a:rPr lang="ru-RU" sz="1800" b="0" dirty="0" smtClean="0"/>
              <a:t>станков – </a:t>
            </a:r>
            <a:r>
              <a:rPr lang="cs-CZ" sz="1800" b="0" dirty="0" smtClean="0"/>
              <a:t>2012 – </a:t>
            </a:r>
            <a:r>
              <a:rPr lang="cs-CZ" sz="1800" b="0" dirty="0" smtClean="0"/>
              <a:t>2014</a:t>
            </a:r>
            <a:endParaRPr lang="ru-RU" sz="1800" b="0" dirty="0" smtClean="0"/>
          </a:p>
          <a:p>
            <a:pPr marL="0" indent="0">
              <a:spcBef>
                <a:spcPct val="20000"/>
              </a:spcBef>
              <a:buNone/>
            </a:pPr>
            <a:r>
              <a:rPr lang="en-US" sz="1800" dirty="0" smtClean="0"/>
              <a:t>UT-AIR-</a:t>
            </a:r>
            <a:r>
              <a:rPr lang="ru-RU" sz="1800" dirty="0" smtClean="0"/>
              <a:t>Уфа </a:t>
            </a:r>
            <a:r>
              <a:rPr lang="ru-RU" sz="1800" b="0" dirty="0" smtClean="0"/>
              <a:t>– поставка комплекса оборудования для магнитопорошкового, капиллярного и </a:t>
            </a:r>
            <a:r>
              <a:rPr lang="ru-RU" sz="1800" b="0" dirty="0" err="1" smtClean="0"/>
              <a:t>вихретокового</a:t>
            </a:r>
            <a:r>
              <a:rPr lang="ru-RU" sz="1800" b="0" dirty="0" smtClean="0"/>
              <a:t> контроля авиа- компонентов -</a:t>
            </a:r>
            <a:r>
              <a:rPr lang="cs-CZ" sz="1800" b="0" dirty="0" smtClean="0"/>
              <a:t>2013</a:t>
            </a:r>
            <a:endParaRPr lang="ru-RU" sz="1800" dirty="0"/>
          </a:p>
          <a:p>
            <a:pPr marL="0" indent="0">
              <a:spcBef>
                <a:spcPct val="20000"/>
              </a:spcBef>
              <a:buNone/>
            </a:pPr>
            <a:r>
              <a:rPr lang="ru-RU" sz="1800" dirty="0" smtClean="0"/>
              <a:t>Авиакомпания «</a:t>
            </a:r>
            <a:r>
              <a:rPr lang="ru-RU" sz="1800" dirty="0"/>
              <a:t>ЯМАЛ»</a:t>
            </a:r>
            <a:r>
              <a:rPr lang="ru-RU" sz="1800" b="0" dirty="0"/>
              <a:t> поставка комплекса оборудования магнитопорошкового, капиллярного и </a:t>
            </a:r>
            <a:r>
              <a:rPr lang="ru-RU" sz="1800" b="0" dirty="0" err="1"/>
              <a:t>вихретокового</a:t>
            </a:r>
            <a:r>
              <a:rPr lang="ru-RU" sz="1800" b="0" dirty="0"/>
              <a:t> контроля авиа- </a:t>
            </a:r>
            <a:r>
              <a:rPr lang="ru-RU" sz="1800" b="0" dirty="0" smtClean="0"/>
              <a:t>компонентов</a:t>
            </a:r>
            <a:r>
              <a:rPr lang="ru-RU" sz="1800" b="0" dirty="0"/>
              <a:t>-</a:t>
            </a:r>
            <a:r>
              <a:rPr lang="cs-CZ" sz="1800" b="0" dirty="0"/>
              <a:t>2013</a:t>
            </a:r>
            <a:endParaRPr lang="ru-RU" sz="1800" dirty="0"/>
          </a:p>
          <a:p>
            <a:pPr marL="0" indent="0">
              <a:spcBef>
                <a:spcPct val="20000"/>
              </a:spcBef>
              <a:buNone/>
            </a:pPr>
            <a:r>
              <a:rPr lang="ru-RU" sz="1800" b="0" dirty="0" smtClean="0"/>
              <a:t> </a:t>
            </a:r>
            <a:r>
              <a:rPr lang="en-US" sz="1800" dirty="0" smtClean="0"/>
              <a:t>UT-AIR</a:t>
            </a:r>
            <a:r>
              <a:rPr lang="ru-RU" sz="1800" dirty="0" smtClean="0"/>
              <a:t>- инжиниринг  </a:t>
            </a:r>
            <a:r>
              <a:rPr lang="ru-RU" sz="1800" b="0" dirty="0"/>
              <a:t>поставка </a:t>
            </a:r>
            <a:r>
              <a:rPr lang="ru-RU" sz="1800" b="0" dirty="0" smtClean="0"/>
              <a:t>оборудования магнитопорошкового контроля авиа- компонентов-</a:t>
            </a:r>
            <a:r>
              <a:rPr lang="cs-CZ" sz="1800" b="0" dirty="0"/>
              <a:t>2013</a:t>
            </a:r>
            <a:endParaRPr lang="ru-RU" sz="1800" dirty="0"/>
          </a:p>
          <a:p>
            <a:pPr marL="0" indent="0">
              <a:spcBef>
                <a:spcPct val="20000"/>
              </a:spcBef>
              <a:buNone/>
            </a:pPr>
            <a:r>
              <a:rPr lang="ru-RU" sz="1800" dirty="0" smtClean="0"/>
              <a:t>ОАО </a:t>
            </a:r>
            <a:r>
              <a:rPr lang="ru-RU" sz="1800" dirty="0"/>
              <a:t>«ВАСО</a:t>
            </a:r>
            <a:r>
              <a:rPr lang="ru-RU" sz="1800" dirty="0" smtClean="0"/>
              <a:t>», Воронеж </a:t>
            </a:r>
            <a:r>
              <a:rPr lang="ru-RU" sz="1800" dirty="0"/>
              <a:t>(РФ), </a:t>
            </a:r>
            <a:r>
              <a:rPr lang="ru-RU" sz="1800" dirty="0" smtClean="0"/>
              <a:t>поставка </a:t>
            </a:r>
            <a:r>
              <a:rPr lang="ru-RU" sz="1800" b="0" dirty="0" smtClean="0"/>
              <a:t>лакокрасочной камеры </a:t>
            </a:r>
            <a:r>
              <a:rPr lang="cs-CZ" sz="1800" b="0" dirty="0" smtClean="0"/>
              <a:t>– 2013</a:t>
            </a:r>
            <a:endParaRPr lang="ru-RU" sz="1800" b="0" dirty="0" smtClean="0"/>
          </a:p>
          <a:p>
            <a:pPr marL="0" indent="0">
              <a:spcBef>
                <a:spcPct val="20000"/>
              </a:spcBef>
              <a:buNone/>
            </a:pPr>
            <a:r>
              <a:rPr lang="ru-RU" sz="1800" dirty="0" smtClean="0"/>
              <a:t>АО СМК-  </a:t>
            </a:r>
            <a:r>
              <a:rPr lang="ru-RU" sz="1800" b="0" dirty="0" smtClean="0"/>
              <a:t>поставка </a:t>
            </a:r>
            <a:r>
              <a:rPr lang="ru-RU" sz="1800" b="0" dirty="0"/>
              <a:t>комплекса оборудования </a:t>
            </a:r>
            <a:r>
              <a:rPr lang="ru-RU" sz="1800" b="0" dirty="0" smtClean="0"/>
              <a:t>капиллярного контроля </a:t>
            </a:r>
            <a:r>
              <a:rPr lang="ru-RU" sz="1800" b="0" dirty="0"/>
              <a:t>авиа- компонентов-</a:t>
            </a:r>
            <a:r>
              <a:rPr lang="cs-CZ" sz="1800" b="0" dirty="0"/>
              <a:t>2013</a:t>
            </a:r>
            <a:endParaRPr lang="ru-RU" sz="1800" dirty="0"/>
          </a:p>
          <a:p>
            <a:pPr marL="0" indent="0">
              <a:spcBef>
                <a:spcPct val="20000"/>
              </a:spcBef>
              <a:buNone/>
            </a:pPr>
            <a:endParaRPr lang="ru-RU" sz="1800" dirty="0"/>
          </a:p>
          <a:p>
            <a:pPr marL="0" lvl="0" indent="0">
              <a:spcBef>
                <a:spcPct val="20000"/>
              </a:spcBef>
              <a:buNone/>
            </a:pPr>
            <a:endParaRPr lang="cs-CZ" sz="1800" b="0" dirty="0" smtClean="0"/>
          </a:p>
          <a:p>
            <a:pPr marL="0" lvl="0" indent="0">
              <a:spcBef>
                <a:spcPct val="20000"/>
              </a:spcBef>
              <a:buNone/>
            </a:pPr>
            <a:endParaRPr lang="en-US" altLang="ru-RU" sz="1800" b="0" kern="0" dirty="0" smtClean="0">
              <a:latin typeface="Arial" charset="0"/>
              <a:cs typeface="Arial Unicode MS" charset="0"/>
            </a:endParaRPr>
          </a:p>
          <a:p>
            <a:pPr>
              <a:buFont typeface="Wingdings" pitchFamily="2" charset="2"/>
              <a:buChar char="Ø"/>
            </a:pPr>
            <a:endParaRPr lang="ru-RU" sz="1800" b="0" kern="0" dirty="0" smtClean="0"/>
          </a:p>
        </p:txBody>
      </p:sp>
    </p:spTree>
    <p:extLst>
      <p:ext uri="{BB962C8B-B14F-4D97-AF65-F5344CB8AC3E}">
        <p14:creationId xmlns:p14="http://schemas.microsoft.com/office/powerpoint/2010/main" val="9667334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траница</a:t>
            </a:r>
            <a:r>
              <a:rPr lang="de-DE" smtClean="0"/>
              <a:t> </a:t>
            </a:r>
            <a:r>
              <a:rPr lang="de-DE" smtClean="0">
                <a:sym typeface="Wingdings" pitchFamily="2" charset="2"/>
              </a:rPr>
              <a:t></a:t>
            </a:r>
            <a:r>
              <a:rPr lang="de-DE" smtClean="0"/>
              <a:t> </a:t>
            </a:r>
            <a:fld id="{9C210727-429B-47FB-8233-FC5B221958BF}" type="slidenum">
              <a:rPr lang="de-DE" smtClean="0"/>
              <a:pPr>
                <a:defRPr/>
              </a:pPr>
              <a:t>22</a:t>
            </a:fld>
            <a:endParaRPr lang="de-DE"/>
          </a:p>
        </p:txBody>
      </p:sp>
      <p:sp>
        <p:nvSpPr>
          <p:cNvPr id="3" name="Obdélník 2"/>
          <p:cNvSpPr/>
          <p:nvPr/>
        </p:nvSpPr>
        <p:spPr>
          <a:xfrm>
            <a:off x="312860" y="287905"/>
            <a:ext cx="854612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ru-RU" sz="2800" b="1" dirty="0" smtClean="0"/>
              <a:t>Дальнейшее развитие </a:t>
            </a:r>
            <a:r>
              <a:rPr lang="ru-RU" sz="2800" dirty="0"/>
              <a:t>и углубление кооперации российских и европейских предприятий</a:t>
            </a:r>
            <a:r>
              <a:rPr lang="ru-RU" sz="2800" b="1" dirty="0" smtClean="0"/>
              <a:t> области АВИАЦИИ </a:t>
            </a:r>
            <a:r>
              <a:rPr lang="ru-RU" sz="2800" b="1" dirty="0" smtClean="0"/>
              <a:t>нам видится</a:t>
            </a:r>
            <a:r>
              <a:rPr lang="cs-CZ" sz="2800" b="1" dirty="0" smtClean="0"/>
              <a:t>: </a:t>
            </a:r>
            <a:r>
              <a:rPr lang="ru-RU" sz="2800" b="1" dirty="0" smtClean="0"/>
              <a:t>  </a:t>
            </a:r>
            <a:endParaRPr lang="ru-RU" sz="2800" b="1" dirty="0"/>
          </a:p>
        </p:txBody>
      </p:sp>
      <p:sp>
        <p:nvSpPr>
          <p:cNvPr id="4" name="Zástupný symbol pro obsah 2"/>
          <p:cNvSpPr txBox="1">
            <a:spLocks/>
          </p:cNvSpPr>
          <p:nvPr/>
        </p:nvSpPr>
        <p:spPr>
          <a:xfrm>
            <a:off x="82062" y="2391508"/>
            <a:ext cx="8932983" cy="2836984"/>
          </a:xfrm>
          <a:prstGeom prst="rect">
            <a:avLst/>
          </a:prstGeom>
        </p:spPr>
        <p:txBody>
          <a:bodyPr/>
          <a:lstStyle>
            <a:lvl1pPr marL="190500" indent="-190500" algn="l" rtl="0" eaLnBrk="0" fontAlgn="base" hangingPunct="0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000" indent="-188913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2pPr>
            <a:lvl3pPr marL="561975" indent="-179388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768350" indent="-204788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4pPr>
            <a:lvl5pPr marL="1050925" indent="-168275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508125" indent="-168275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1965325" indent="-168275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422525" indent="-168275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2879725" indent="-168275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spcBef>
                <a:spcPct val="20000"/>
              </a:spcBef>
              <a:buFontTx/>
              <a:buChar char="-"/>
            </a:pPr>
            <a:r>
              <a:rPr lang="ru-RU" sz="2800" b="0" dirty="0" smtClean="0"/>
              <a:t>В локализации производства некоторых частей наших технологических линии в России </a:t>
            </a:r>
          </a:p>
          <a:p>
            <a:pPr lvl="0">
              <a:spcBef>
                <a:spcPct val="20000"/>
              </a:spcBef>
              <a:buFontTx/>
              <a:buChar char="-"/>
            </a:pPr>
            <a:endParaRPr lang="ru-RU" sz="2800" b="0" dirty="0" smtClean="0"/>
          </a:p>
          <a:p>
            <a:pPr lvl="0">
              <a:spcBef>
                <a:spcPct val="20000"/>
              </a:spcBef>
              <a:buFontTx/>
              <a:buChar char="-"/>
            </a:pPr>
            <a:r>
              <a:rPr lang="ru-RU" sz="2800" b="0" dirty="0" smtClean="0"/>
              <a:t>В </a:t>
            </a:r>
            <a:r>
              <a:rPr lang="ru-RU" sz="2800" b="0" dirty="0" smtClean="0"/>
              <a:t>экспорте </a:t>
            </a:r>
            <a:r>
              <a:rPr lang="ru-RU" sz="2800" b="0" dirty="0"/>
              <a:t>продукции российских авиационных предприятий в </a:t>
            </a:r>
            <a:r>
              <a:rPr lang="ru-RU" sz="2800" b="0" dirty="0" smtClean="0"/>
              <a:t>Европу</a:t>
            </a:r>
          </a:p>
          <a:p>
            <a:pPr lvl="0">
              <a:spcBef>
                <a:spcPct val="20000"/>
              </a:spcBef>
              <a:buFontTx/>
              <a:buChar char="-"/>
            </a:pPr>
            <a:endParaRPr lang="ru-RU" sz="2800" b="0" dirty="0"/>
          </a:p>
          <a:p>
            <a:pPr lvl="0">
              <a:spcBef>
                <a:spcPct val="20000"/>
              </a:spcBef>
              <a:buFontTx/>
              <a:buChar char="-"/>
            </a:pPr>
            <a:r>
              <a:rPr lang="ru-RU" sz="2800" b="0" dirty="0" smtClean="0"/>
              <a:t>Привлечение экспортного зарубежного финансирования</a:t>
            </a:r>
          </a:p>
          <a:p>
            <a:pPr lvl="0">
              <a:spcBef>
                <a:spcPct val="20000"/>
              </a:spcBef>
              <a:buFontTx/>
              <a:buChar char="-"/>
            </a:pPr>
            <a:endParaRPr lang="ru-RU" sz="1800" b="0" dirty="0" smtClean="0"/>
          </a:p>
          <a:p>
            <a:pPr marL="0" lvl="0" indent="0">
              <a:spcBef>
                <a:spcPct val="20000"/>
              </a:spcBef>
              <a:buNone/>
            </a:pPr>
            <a:endParaRPr lang="en-US" altLang="ru-RU" sz="1800" b="0" kern="0" dirty="0" smtClean="0">
              <a:latin typeface="Arial" charset="0"/>
              <a:cs typeface="Arial Unicode MS" charset="0"/>
            </a:endParaRPr>
          </a:p>
          <a:p>
            <a:pPr>
              <a:buFont typeface="Wingdings" pitchFamily="2" charset="2"/>
              <a:buChar char="Ø"/>
            </a:pPr>
            <a:endParaRPr lang="ru-RU" sz="1800" b="0" kern="0" dirty="0" smtClean="0"/>
          </a:p>
        </p:txBody>
      </p:sp>
    </p:spTree>
    <p:extLst>
      <p:ext uri="{BB962C8B-B14F-4D97-AF65-F5344CB8AC3E}">
        <p14:creationId xmlns:p14="http://schemas.microsoft.com/office/powerpoint/2010/main" val="1563380461"/>
      </p:ext>
    </p:extLst>
  </p:cSld>
  <p:clrMapOvr>
    <a:masterClrMapping/>
  </p:clrMapOvr>
  <p:transition spd="med"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Zástupný symbol pro zápatí 2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r>
              <a:rPr lang="ru-RU">
                <a:latin typeface="Arial" charset="0"/>
              </a:rPr>
              <a:t>Страница</a:t>
            </a:r>
            <a:r>
              <a:rPr lang="de-DE">
                <a:latin typeface="Arial" charset="0"/>
              </a:rPr>
              <a:t> </a:t>
            </a:r>
            <a:r>
              <a:rPr lang="de-DE">
                <a:latin typeface="Arial" charset="0"/>
                <a:sym typeface="Wingdings" pitchFamily="2" charset="2"/>
              </a:rPr>
              <a:t></a:t>
            </a:r>
            <a:r>
              <a:rPr lang="de-DE">
                <a:latin typeface="Arial" charset="0"/>
              </a:rPr>
              <a:t> </a:t>
            </a:r>
            <a:fld id="{0380763E-A8D7-40F3-A65B-4618A17AD5AE}" type="slidenum">
              <a:rPr lang="de-DE">
                <a:latin typeface="Arial" charset="0"/>
              </a:rPr>
              <a:pPr/>
              <a:t>23</a:t>
            </a:fld>
            <a:endParaRPr lang="de-DE">
              <a:latin typeface="Arial" charset="0"/>
            </a:endParaRPr>
          </a:p>
        </p:txBody>
      </p:sp>
      <p:pic>
        <p:nvPicPr>
          <p:cNvPr id="82947" name="Picture 3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2608263" y="1565275"/>
            <a:ext cx="3987800" cy="40513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82948" name="Picture 2"/>
          <p:cNvPicPr>
            <a:picLocks noChangeAspect="1" noChangeArrowheads="1"/>
          </p:cNvPicPr>
          <p:nvPr/>
        </p:nvPicPr>
        <p:blipFill>
          <a:blip r:embed="rId5" cstate="print">
            <a:lum bright="-12000" contrast="-12000"/>
          </a:blip>
          <a:srcRect/>
          <a:stretch>
            <a:fillRect/>
          </a:stretch>
        </p:blipFill>
        <p:spPr bwMode="auto">
          <a:xfrm>
            <a:off x="2333625" y="5654675"/>
            <a:ext cx="46101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2949" name="Rectangle 3"/>
          <p:cNvSpPr>
            <a:spLocks noGrp="1" noChangeArrowheads="1"/>
          </p:cNvSpPr>
          <p:nvPr>
            <p:ph type="title"/>
          </p:nvPr>
        </p:nvSpPr>
        <p:spPr>
          <a:xfrm>
            <a:off x="314325" y="701675"/>
            <a:ext cx="8524875" cy="600075"/>
          </a:xfrm>
        </p:spPr>
        <p:txBody>
          <a:bodyPr/>
          <a:lstStyle/>
          <a:p>
            <a:pPr algn="ctr"/>
            <a:r>
              <a:rPr lang="ru-RU" sz="3600" dirty="0" smtClean="0"/>
              <a:t>Благодарю за внимание!</a:t>
            </a:r>
            <a:endParaRPr lang="ru-RU" sz="3600" noProof="1" smtClean="0"/>
          </a:p>
        </p:txBody>
      </p:sp>
      <p:sp>
        <p:nvSpPr>
          <p:cNvPr id="82950" name="WordArt 17"/>
          <p:cNvSpPr>
            <a:spLocks noChangeArrowheads="1" noChangeShapeType="1" noTextEdit="1"/>
          </p:cNvSpPr>
          <p:nvPr/>
        </p:nvSpPr>
        <p:spPr bwMode="gray">
          <a:xfrm rot="-2650685">
            <a:off x="2986088" y="2352675"/>
            <a:ext cx="1887537" cy="1160463"/>
          </a:xfrm>
          <a:prstGeom prst="rect">
            <a:avLst/>
          </a:prstGeom>
        </p:spPr>
        <p:txBody>
          <a:bodyPr spcFirstLastPara="1" wrap="none" fromWordArt="1">
            <a:prstTxWarp prst="textArchUp">
              <a:avLst>
                <a:gd name="adj" fmla="val 12754012"/>
              </a:avLst>
            </a:prstTxWarp>
          </a:bodyPr>
          <a:lstStyle/>
          <a:p>
            <a:pPr algn="ctr"/>
            <a:endParaRPr lang="cs-CZ" sz="3600" kern="10">
              <a:ln w="9525">
                <a:noFill/>
                <a:round/>
                <a:headEnd/>
                <a:tailEnd/>
              </a:ln>
              <a:solidFill>
                <a:srgbClr val="FFFFFF"/>
              </a:solidFill>
              <a:latin typeface="Arial Black"/>
            </a:endParaRPr>
          </a:p>
        </p:txBody>
      </p:sp>
      <p:sp>
        <p:nvSpPr>
          <p:cNvPr id="82951" name="Line 20"/>
          <p:cNvSpPr>
            <a:spLocks noChangeShapeType="1"/>
          </p:cNvSpPr>
          <p:nvPr/>
        </p:nvSpPr>
        <p:spPr bwMode="gray">
          <a:xfrm>
            <a:off x="407988" y="3692525"/>
            <a:ext cx="1966912" cy="0"/>
          </a:xfrm>
          <a:prstGeom prst="line">
            <a:avLst/>
          </a:prstGeom>
          <a:noFill/>
          <a:ln w="28575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endParaRPr lang="cs-CZ"/>
          </a:p>
        </p:txBody>
      </p:sp>
      <p:pic>
        <p:nvPicPr>
          <p:cNvPr id="82952" name="Picture 23" descr="ALTA_logo_barevne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619500" y="3032125"/>
            <a:ext cx="1979613" cy="132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953" name="Picture 24" descr="CKD_rus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07988" y="5156200"/>
            <a:ext cx="2763837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954" name="Picture 25" descr="SMT_rus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23888" y="2555875"/>
            <a:ext cx="1427162" cy="874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955" name="Picture 26" descr="TOS_rus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07988" y="3968750"/>
            <a:ext cx="1858962" cy="474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2957" name="Line 29"/>
          <p:cNvSpPr>
            <a:spLocks noChangeShapeType="1"/>
          </p:cNvSpPr>
          <p:nvPr/>
        </p:nvSpPr>
        <p:spPr bwMode="gray">
          <a:xfrm>
            <a:off x="407988" y="4813300"/>
            <a:ext cx="2438400" cy="0"/>
          </a:xfrm>
          <a:prstGeom prst="line">
            <a:avLst/>
          </a:prstGeom>
          <a:noFill/>
          <a:ln w="28575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endParaRPr lang="cs-CZ"/>
          </a:p>
        </p:txBody>
      </p:sp>
      <p:sp>
        <p:nvSpPr>
          <p:cNvPr id="82958" name="Line 31"/>
          <p:cNvSpPr>
            <a:spLocks noChangeShapeType="1"/>
          </p:cNvSpPr>
          <p:nvPr/>
        </p:nvSpPr>
        <p:spPr bwMode="gray">
          <a:xfrm>
            <a:off x="6415088" y="4819650"/>
            <a:ext cx="2438400" cy="0"/>
          </a:xfrm>
          <a:prstGeom prst="line">
            <a:avLst/>
          </a:prstGeom>
          <a:noFill/>
          <a:ln w="28575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endParaRPr lang="cs-CZ"/>
          </a:p>
        </p:txBody>
      </p:sp>
      <p:pic>
        <p:nvPicPr>
          <p:cNvPr id="82959" name="Picture 33" descr="Logo SEMI technology_rus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803900" y="5229225"/>
            <a:ext cx="3054350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960" name="Picture 34" descr="alvel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269067" y="3968750"/>
            <a:ext cx="1481138" cy="763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2961" name="Line 35"/>
          <p:cNvSpPr>
            <a:spLocks noChangeShapeType="1"/>
          </p:cNvSpPr>
          <p:nvPr/>
        </p:nvSpPr>
        <p:spPr bwMode="gray">
          <a:xfrm>
            <a:off x="6834188" y="3700463"/>
            <a:ext cx="1966912" cy="0"/>
          </a:xfrm>
          <a:prstGeom prst="line">
            <a:avLst/>
          </a:prstGeom>
          <a:noFill/>
          <a:ln w="28575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endParaRPr lang="cs-CZ"/>
          </a:p>
        </p:txBody>
      </p:sp>
      <p:pic>
        <p:nvPicPr>
          <p:cNvPr id="19" name="Picture 2" descr="D:\ALTA RUS\L O G O\oficial logo ALTA RUS\ALTA_RUS.jp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7254886" y="2855390"/>
            <a:ext cx="1495319" cy="735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Zástupný symbol pro zápatí 2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r>
              <a:rPr lang="ru-RU">
                <a:latin typeface="Arial" charset="0"/>
              </a:rPr>
              <a:t>Страница</a:t>
            </a:r>
            <a:r>
              <a:rPr lang="de-DE">
                <a:latin typeface="Arial" charset="0"/>
              </a:rPr>
              <a:t> </a:t>
            </a:r>
            <a:r>
              <a:rPr lang="de-DE">
                <a:latin typeface="Arial" charset="0"/>
                <a:sym typeface="Wingdings" pitchFamily="2" charset="2"/>
              </a:rPr>
              <a:t></a:t>
            </a:r>
            <a:r>
              <a:rPr lang="de-DE">
                <a:latin typeface="Arial" charset="0"/>
              </a:rPr>
              <a:t> </a:t>
            </a:r>
            <a:fld id="{8C8E8370-257E-4F2F-AEF8-1E1BC4210EB3}" type="slidenum">
              <a:rPr lang="de-DE">
                <a:latin typeface="Arial" charset="0"/>
              </a:rPr>
              <a:pPr/>
              <a:t>3</a:t>
            </a:fld>
            <a:endParaRPr lang="de-DE">
              <a:latin typeface="Arial" charset="0"/>
            </a:endParaRP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14325" y="1552575"/>
            <a:ext cx="8520113" cy="3895725"/>
          </a:xfr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ru-RU" sz="2400" b="0" dirty="0" smtClean="0"/>
              <a:t>Металлообработка (станки, технологические линии и т.п.)</a:t>
            </a:r>
          </a:p>
          <a:p>
            <a:pPr>
              <a:buClr>
                <a:schemeClr val="accent2"/>
              </a:buClr>
            </a:pPr>
            <a:r>
              <a:rPr lang="ru-RU" sz="2400" b="0" dirty="0" smtClean="0"/>
              <a:t>Технологическое оборудование / </a:t>
            </a:r>
            <a:r>
              <a:rPr lang="ru-RU" sz="2400" b="0" dirty="0" smtClean="0"/>
              <a:t>-EPC </a:t>
            </a:r>
            <a:r>
              <a:rPr lang="ru-RU" sz="2400" b="0" dirty="0" smtClean="0"/>
              <a:t>поставщик «под ключ»</a:t>
            </a:r>
          </a:p>
          <a:p>
            <a:pPr>
              <a:buClr>
                <a:schemeClr val="accent2"/>
              </a:buClr>
            </a:pPr>
            <a:r>
              <a:rPr lang="ru-RU" sz="2400" b="0" dirty="0"/>
              <a:t>Топливный цикл </a:t>
            </a:r>
            <a:r>
              <a:rPr lang="ru-RU" sz="2400" b="0" dirty="0" smtClean="0"/>
              <a:t>АЭС</a:t>
            </a:r>
            <a:endParaRPr lang="cs-CZ" sz="2400" b="0" dirty="0" smtClean="0"/>
          </a:p>
          <a:p>
            <a:pPr>
              <a:buClr>
                <a:schemeClr val="accent2"/>
              </a:buClr>
            </a:pPr>
            <a:r>
              <a:rPr lang="ru-RU" sz="2400" b="0" dirty="0" smtClean="0"/>
              <a:t>Оборудование для </a:t>
            </a:r>
            <a:r>
              <a:rPr lang="ru-RU" sz="2400" b="0" dirty="0"/>
              <a:t>горнодобывающей, химической </a:t>
            </a:r>
            <a:r>
              <a:rPr lang="ru-RU" sz="2400" b="0" dirty="0" smtClean="0"/>
              <a:t>промышленности</a:t>
            </a:r>
          </a:p>
          <a:p>
            <a:pPr>
              <a:buClr>
                <a:schemeClr val="accent2"/>
              </a:buClr>
            </a:pPr>
            <a:r>
              <a:rPr lang="ru-RU" sz="2400" b="0" dirty="0"/>
              <a:t>Сырье и материалы</a:t>
            </a:r>
            <a:r>
              <a:rPr lang="cs-CZ" sz="2400" b="0" dirty="0"/>
              <a:t> </a:t>
            </a:r>
          </a:p>
          <a:p>
            <a:pPr>
              <a:buClr>
                <a:schemeClr val="accent2"/>
              </a:buClr>
            </a:pPr>
            <a:endParaRPr lang="ru-RU" sz="2400" b="0" dirty="0" smtClean="0"/>
          </a:p>
          <a:p>
            <a:pPr>
              <a:buClr>
                <a:schemeClr val="accent2"/>
              </a:buClr>
              <a:buFont typeface="Wingdings" pitchFamily="2" charset="2"/>
              <a:buNone/>
            </a:pPr>
            <a:endParaRPr lang="ru-RU" sz="2400" b="0" dirty="0" smtClean="0"/>
          </a:p>
        </p:txBody>
      </p:sp>
      <p:sp>
        <p:nvSpPr>
          <p:cNvPr id="13316" name="Rectangle 6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pPr algn="ctr"/>
            <a:r>
              <a:rPr lang="ru-RU" dirty="0" smtClean="0"/>
              <a:t>Коммерческая направленность компании</a:t>
            </a:r>
            <a:endParaRPr lang="ru-RU" noProof="1" smtClean="0"/>
          </a:p>
        </p:txBody>
      </p:sp>
      <p:pic>
        <p:nvPicPr>
          <p:cNvPr id="5" name="Obrázek 3" descr="ALTA_logo_barevn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278812" y="6237287"/>
            <a:ext cx="865188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Zástupný symbol pro zápatí 3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r>
              <a:rPr lang="ru-RU">
                <a:latin typeface="Arial" charset="0"/>
              </a:rPr>
              <a:t>Страница</a:t>
            </a:r>
            <a:r>
              <a:rPr lang="de-DE">
                <a:latin typeface="Arial" charset="0"/>
              </a:rPr>
              <a:t> </a:t>
            </a:r>
            <a:r>
              <a:rPr lang="de-DE">
                <a:latin typeface="Arial" charset="0"/>
                <a:sym typeface="Wingdings" pitchFamily="2" charset="2"/>
              </a:rPr>
              <a:t></a:t>
            </a:r>
            <a:r>
              <a:rPr lang="de-DE">
                <a:latin typeface="Arial" charset="0"/>
              </a:rPr>
              <a:t> </a:t>
            </a:r>
            <a:fld id="{D6C6D0FD-0A05-48BD-BF9D-BA7715499081}" type="slidenum">
              <a:rPr lang="de-DE">
                <a:latin typeface="Arial" charset="0"/>
              </a:rPr>
              <a:pPr/>
              <a:t>4</a:t>
            </a:fld>
            <a:endParaRPr lang="de-DE">
              <a:latin typeface="Arial" charset="0"/>
            </a:endParaRPr>
          </a:p>
        </p:txBody>
      </p:sp>
      <p:sp>
        <p:nvSpPr>
          <p:cNvPr id="17411" name="AutoShape 190"/>
          <p:cNvSpPr>
            <a:spLocks noChangeAspect="1" noChangeArrowheads="1" noTextEdit="1"/>
          </p:cNvSpPr>
          <p:nvPr/>
        </p:nvSpPr>
        <p:spPr bwMode="auto">
          <a:xfrm>
            <a:off x="211138" y="698500"/>
            <a:ext cx="8624887" cy="5314950"/>
          </a:xfrm>
          <a:prstGeom prst="rect">
            <a:avLst/>
          </a:prstGeom>
          <a:gradFill rotWithShape="1">
            <a:gsLst>
              <a:gs pos="0">
                <a:srgbClr val="E8EEF8"/>
              </a:gs>
              <a:gs pos="100000">
                <a:srgbClr val="B2C8E8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17412" name="Freeform 191"/>
          <p:cNvSpPr>
            <a:spLocks noEditPoints="1"/>
          </p:cNvSpPr>
          <p:nvPr/>
        </p:nvSpPr>
        <p:spPr bwMode="auto">
          <a:xfrm>
            <a:off x="895350" y="2049463"/>
            <a:ext cx="1543050" cy="804862"/>
          </a:xfrm>
          <a:custGeom>
            <a:avLst/>
            <a:gdLst>
              <a:gd name="T0" fmla="*/ 302 w 1335"/>
              <a:gd name="T1" fmla="*/ 499 h 697"/>
              <a:gd name="T2" fmla="*/ 305 w 1335"/>
              <a:gd name="T3" fmla="*/ 462 h 697"/>
              <a:gd name="T4" fmla="*/ 339 w 1335"/>
              <a:gd name="T5" fmla="*/ 477 h 697"/>
              <a:gd name="T6" fmla="*/ 62 w 1335"/>
              <a:gd name="T7" fmla="*/ 570 h 697"/>
              <a:gd name="T8" fmla="*/ 0 w 1335"/>
              <a:gd name="T9" fmla="*/ 607 h 697"/>
              <a:gd name="T10" fmla="*/ 34 w 1335"/>
              <a:gd name="T11" fmla="*/ 609 h 697"/>
              <a:gd name="T12" fmla="*/ 95 w 1335"/>
              <a:gd name="T13" fmla="*/ 583 h 697"/>
              <a:gd name="T14" fmla="*/ 62 w 1335"/>
              <a:gd name="T15" fmla="*/ 570 h 697"/>
              <a:gd name="T16" fmla="*/ 1189 w 1335"/>
              <a:gd name="T17" fmla="*/ 144 h 697"/>
              <a:gd name="T18" fmla="*/ 1152 w 1335"/>
              <a:gd name="T19" fmla="*/ 136 h 697"/>
              <a:gd name="T20" fmla="*/ 1124 w 1335"/>
              <a:gd name="T21" fmla="*/ 84 h 697"/>
              <a:gd name="T22" fmla="*/ 1160 w 1335"/>
              <a:gd name="T23" fmla="*/ 4 h 697"/>
              <a:gd name="T24" fmla="*/ 1122 w 1335"/>
              <a:gd name="T25" fmla="*/ 4 h 697"/>
              <a:gd name="T26" fmla="*/ 1095 w 1335"/>
              <a:gd name="T27" fmla="*/ 96 h 697"/>
              <a:gd name="T28" fmla="*/ 1094 w 1335"/>
              <a:gd name="T29" fmla="*/ 104 h 697"/>
              <a:gd name="T30" fmla="*/ 1093 w 1335"/>
              <a:gd name="T31" fmla="*/ 111 h 697"/>
              <a:gd name="T32" fmla="*/ 1091 w 1335"/>
              <a:gd name="T33" fmla="*/ 122 h 697"/>
              <a:gd name="T34" fmla="*/ 1090 w 1335"/>
              <a:gd name="T35" fmla="*/ 127 h 697"/>
              <a:gd name="T36" fmla="*/ 1088 w 1335"/>
              <a:gd name="T37" fmla="*/ 132 h 697"/>
              <a:gd name="T38" fmla="*/ 1083 w 1335"/>
              <a:gd name="T39" fmla="*/ 140 h 697"/>
              <a:gd name="T40" fmla="*/ 1011 w 1335"/>
              <a:gd name="T41" fmla="*/ 183 h 697"/>
              <a:gd name="T42" fmla="*/ 931 w 1335"/>
              <a:gd name="T43" fmla="*/ 233 h 697"/>
              <a:gd name="T44" fmla="*/ 892 w 1335"/>
              <a:gd name="T45" fmla="*/ 285 h 697"/>
              <a:gd name="T46" fmla="*/ 838 w 1335"/>
              <a:gd name="T47" fmla="*/ 375 h 697"/>
              <a:gd name="T48" fmla="*/ 774 w 1335"/>
              <a:gd name="T49" fmla="*/ 365 h 697"/>
              <a:gd name="T50" fmla="*/ 722 w 1335"/>
              <a:gd name="T51" fmla="*/ 375 h 697"/>
              <a:gd name="T52" fmla="*/ 678 w 1335"/>
              <a:gd name="T53" fmla="*/ 373 h 697"/>
              <a:gd name="T54" fmla="*/ 652 w 1335"/>
              <a:gd name="T55" fmla="*/ 365 h 697"/>
              <a:gd name="T56" fmla="*/ 616 w 1335"/>
              <a:gd name="T57" fmla="*/ 362 h 697"/>
              <a:gd name="T58" fmla="*/ 555 w 1335"/>
              <a:gd name="T59" fmla="*/ 380 h 697"/>
              <a:gd name="T60" fmla="*/ 510 w 1335"/>
              <a:gd name="T61" fmla="*/ 414 h 697"/>
              <a:gd name="T62" fmla="*/ 449 w 1335"/>
              <a:gd name="T63" fmla="*/ 475 h 697"/>
              <a:gd name="T64" fmla="*/ 382 w 1335"/>
              <a:gd name="T65" fmla="*/ 509 h 697"/>
              <a:gd name="T66" fmla="*/ 384 w 1335"/>
              <a:gd name="T67" fmla="*/ 527 h 697"/>
              <a:gd name="T68" fmla="*/ 367 w 1335"/>
              <a:gd name="T69" fmla="*/ 553 h 697"/>
              <a:gd name="T70" fmla="*/ 371 w 1335"/>
              <a:gd name="T71" fmla="*/ 576 h 697"/>
              <a:gd name="T72" fmla="*/ 372 w 1335"/>
              <a:gd name="T73" fmla="*/ 591 h 697"/>
              <a:gd name="T74" fmla="*/ 369 w 1335"/>
              <a:gd name="T75" fmla="*/ 615 h 697"/>
              <a:gd name="T76" fmla="*/ 400 w 1335"/>
              <a:gd name="T77" fmla="*/ 641 h 697"/>
              <a:gd name="T78" fmla="*/ 426 w 1335"/>
              <a:gd name="T79" fmla="*/ 663 h 697"/>
              <a:gd name="T80" fmla="*/ 460 w 1335"/>
              <a:gd name="T81" fmla="*/ 687 h 697"/>
              <a:gd name="T82" fmla="*/ 490 w 1335"/>
              <a:gd name="T83" fmla="*/ 696 h 697"/>
              <a:gd name="T84" fmla="*/ 714 w 1335"/>
              <a:gd name="T85" fmla="*/ 689 h 697"/>
              <a:gd name="T86" fmla="*/ 770 w 1335"/>
              <a:gd name="T87" fmla="*/ 575 h 697"/>
              <a:gd name="T88" fmla="*/ 825 w 1335"/>
              <a:gd name="T89" fmla="*/ 523 h 697"/>
              <a:gd name="T90" fmla="*/ 857 w 1335"/>
              <a:gd name="T91" fmla="*/ 476 h 697"/>
              <a:gd name="T92" fmla="*/ 925 w 1335"/>
              <a:gd name="T93" fmla="*/ 446 h 697"/>
              <a:gd name="T94" fmla="*/ 998 w 1335"/>
              <a:gd name="T95" fmla="*/ 332 h 697"/>
              <a:gd name="T96" fmla="*/ 1073 w 1335"/>
              <a:gd name="T97" fmla="*/ 289 h 697"/>
              <a:gd name="T98" fmla="*/ 1074 w 1335"/>
              <a:gd name="T99" fmla="*/ 246 h 697"/>
              <a:gd name="T100" fmla="*/ 1123 w 1335"/>
              <a:gd name="T101" fmla="*/ 209 h 697"/>
              <a:gd name="T102" fmla="*/ 1157 w 1335"/>
              <a:gd name="T103" fmla="*/ 200 h 697"/>
              <a:gd name="T104" fmla="*/ 1231 w 1335"/>
              <a:gd name="T105" fmla="*/ 217 h 697"/>
              <a:gd name="T106" fmla="*/ 1259 w 1335"/>
              <a:gd name="T107" fmla="*/ 224 h 697"/>
              <a:gd name="T108" fmla="*/ 1281 w 1335"/>
              <a:gd name="T109" fmla="*/ 219 h 697"/>
              <a:gd name="T110" fmla="*/ 1309 w 1335"/>
              <a:gd name="T111" fmla="*/ 203 h 697"/>
              <a:gd name="T112" fmla="*/ 1335 w 1335"/>
              <a:gd name="T113" fmla="*/ 127 h 697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335"/>
              <a:gd name="T172" fmla="*/ 0 h 697"/>
              <a:gd name="T173" fmla="*/ 1335 w 1335"/>
              <a:gd name="T174" fmla="*/ 697 h 697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335" h="697">
                <a:moveTo>
                  <a:pt x="300" y="499"/>
                </a:moveTo>
                <a:cubicBezTo>
                  <a:pt x="300" y="499"/>
                  <a:pt x="301" y="499"/>
                  <a:pt x="302" y="499"/>
                </a:cubicBezTo>
                <a:cubicBezTo>
                  <a:pt x="299" y="499"/>
                  <a:pt x="298" y="499"/>
                  <a:pt x="300" y="499"/>
                </a:cubicBezTo>
                <a:close/>
                <a:moveTo>
                  <a:pt x="305" y="462"/>
                </a:moveTo>
                <a:cubicBezTo>
                  <a:pt x="305" y="462"/>
                  <a:pt x="307" y="493"/>
                  <a:pt x="302" y="499"/>
                </a:cubicBezTo>
                <a:cubicBezTo>
                  <a:pt x="311" y="496"/>
                  <a:pt x="345" y="489"/>
                  <a:pt x="339" y="477"/>
                </a:cubicBezTo>
                <a:cubicBezTo>
                  <a:pt x="331" y="462"/>
                  <a:pt x="305" y="462"/>
                  <a:pt x="305" y="462"/>
                </a:cubicBezTo>
                <a:close/>
                <a:moveTo>
                  <a:pt x="62" y="570"/>
                </a:moveTo>
                <a:cubicBezTo>
                  <a:pt x="41" y="566"/>
                  <a:pt x="41" y="566"/>
                  <a:pt x="41" y="566"/>
                </a:cubicBezTo>
                <a:cubicBezTo>
                  <a:pt x="0" y="607"/>
                  <a:pt x="0" y="607"/>
                  <a:pt x="0" y="607"/>
                </a:cubicBezTo>
                <a:cubicBezTo>
                  <a:pt x="24" y="605"/>
                  <a:pt x="24" y="605"/>
                  <a:pt x="24" y="605"/>
                </a:cubicBezTo>
                <a:cubicBezTo>
                  <a:pt x="34" y="609"/>
                  <a:pt x="34" y="609"/>
                  <a:pt x="34" y="609"/>
                </a:cubicBezTo>
                <a:cubicBezTo>
                  <a:pt x="73" y="591"/>
                  <a:pt x="73" y="591"/>
                  <a:pt x="73" y="591"/>
                </a:cubicBezTo>
                <a:cubicBezTo>
                  <a:pt x="95" y="583"/>
                  <a:pt x="95" y="583"/>
                  <a:pt x="95" y="583"/>
                </a:cubicBezTo>
                <a:cubicBezTo>
                  <a:pt x="78" y="555"/>
                  <a:pt x="78" y="555"/>
                  <a:pt x="78" y="555"/>
                </a:cubicBezTo>
                <a:lnTo>
                  <a:pt x="62" y="570"/>
                </a:lnTo>
                <a:close/>
                <a:moveTo>
                  <a:pt x="1294" y="107"/>
                </a:moveTo>
                <a:cubicBezTo>
                  <a:pt x="1266" y="92"/>
                  <a:pt x="1197" y="144"/>
                  <a:pt x="1189" y="144"/>
                </a:cubicBezTo>
                <a:cubicBezTo>
                  <a:pt x="1182" y="144"/>
                  <a:pt x="1182" y="133"/>
                  <a:pt x="1182" y="133"/>
                </a:cubicBezTo>
                <a:cubicBezTo>
                  <a:pt x="1182" y="133"/>
                  <a:pt x="1158" y="136"/>
                  <a:pt x="1152" y="136"/>
                </a:cubicBezTo>
                <a:cubicBezTo>
                  <a:pt x="1147" y="136"/>
                  <a:pt x="1150" y="99"/>
                  <a:pt x="1150" y="99"/>
                </a:cubicBezTo>
                <a:cubicBezTo>
                  <a:pt x="1124" y="84"/>
                  <a:pt x="1124" y="84"/>
                  <a:pt x="1124" y="84"/>
                </a:cubicBezTo>
                <a:cubicBezTo>
                  <a:pt x="1124" y="84"/>
                  <a:pt x="1124" y="84"/>
                  <a:pt x="1117" y="66"/>
                </a:cubicBezTo>
                <a:cubicBezTo>
                  <a:pt x="1109" y="47"/>
                  <a:pt x="1156" y="10"/>
                  <a:pt x="1160" y="4"/>
                </a:cubicBezTo>
                <a:cubicBezTo>
                  <a:pt x="1162" y="0"/>
                  <a:pt x="1153" y="2"/>
                  <a:pt x="1140" y="3"/>
                </a:cubicBezTo>
                <a:cubicBezTo>
                  <a:pt x="1135" y="4"/>
                  <a:pt x="1129" y="4"/>
                  <a:pt x="1122" y="4"/>
                </a:cubicBezTo>
                <a:cubicBezTo>
                  <a:pt x="1102" y="4"/>
                  <a:pt x="1100" y="62"/>
                  <a:pt x="1096" y="88"/>
                </a:cubicBezTo>
                <a:cubicBezTo>
                  <a:pt x="1096" y="91"/>
                  <a:pt x="1096" y="93"/>
                  <a:pt x="1095" y="96"/>
                </a:cubicBezTo>
                <a:cubicBezTo>
                  <a:pt x="1095" y="96"/>
                  <a:pt x="1095" y="96"/>
                  <a:pt x="1095" y="97"/>
                </a:cubicBezTo>
                <a:cubicBezTo>
                  <a:pt x="1095" y="99"/>
                  <a:pt x="1095" y="102"/>
                  <a:pt x="1094" y="104"/>
                </a:cubicBezTo>
                <a:cubicBezTo>
                  <a:pt x="1094" y="106"/>
                  <a:pt x="1094" y="108"/>
                  <a:pt x="1094" y="110"/>
                </a:cubicBezTo>
                <a:cubicBezTo>
                  <a:pt x="1093" y="110"/>
                  <a:pt x="1093" y="110"/>
                  <a:pt x="1093" y="111"/>
                </a:cubicBezTo>
                <a:cubicBezTo>
                  <a:pt x="1093" y="115"/>
                  <a:pt x="1092" y="118"/>
                  <a:pt x="1092" y="122"/>
                </a:cubicBezTo>
                <a:cubicBezTo>
                  <a:pt x="1092" y="122"/>
                  <a:pt x="1091" y="122"/>
                  <a:pt x="1091" y="122"/>
                </a:cubicBezTo>
                <a:cubicBezTo>
                  <a:pt x="1091" y="124"/>
                  <a:pt x="1091" y="125"/>
                  <a:pt x="1090" y="127"/>
                </a:cubicBezTo>
                <a:cubicBezTo>
                  <a:pt x="1090" y="127"/>
                  <a:pt x="1090" y="127"/>
                  <a:pt x="1090" y="127"/>
                </a:cubicBezTo>
                <a:cubicBezTo>
                  <a:pt x="1090" y="129"/>
                  <a:pt x="1089" y="130"/>
                  <a:pt x="1089" y="131"/>
                </a:cubicBezTo>
                <a:cubicBezTo>
                  <a:pt x="1089" y="131"/>
                  <a:pt x="1089" y="132"/>
                  <a:pt x="1088" y="132"/>
                </a:cubicBezTo>
                <a:cubicBezTo>
                  <a:pt x="1088" y="133"/>
                  <a:pt x="1087" y="134"/>
                  <a:pt x="1087" y="136"/>
                </a:cubicBezTo>
                <a:cubicBezTo>
                  <a:pt x="1086" y="137"/>
                  <a:pt x="1085" y="139"/>
                  <a:pt x="1083" y="140"/>
                </a:cubicBezTo>
                <a:cubicBezTo>
                  <a:pt x="1074" y="151"/>
                  <a:pt x="1072" y="146"/>
                  <a:pt x="1057" y="146"/>
                </a:cubicBezTo>
                <a:cubicBezTo>
                  <a:pt x="1042" y="146"/>
                  <a:pt x="1022" y="183"/>
                  <a:pt x="1011" y="183"/>
                </a:cubicBezTo>
                <a:cubicBezTo>
                  <a:pt x="1000" y="183"/>
                  <a:pt x="994" y="200"/>
                  <a:pt x="987" y="216"/>
                </a:cubicBezTo>
                <a:cubicBezTo>
                  <a:pt x="979" y="233"/>
                  <a:pt x="949" y="226"/>
                  <a:pt x="931" y="233"/>
                </a:cubicBezTo>
                <a:cubicBezTo>
                  <a:pt x="913" y="240"/>
                  <a:pt x="893" y="282"/>
                  <a:pt x="892" y="285"/>
                </a:cubicBezTo>
                <a:cubicBezTo>
                  <a:pt x="892" y="285"/>
                  <a:pt x="892" y="285"/>
                  <a:pt x="892" y="285"/>
                </a:cubicBezTo>
                <a:cubicBezTo>
                  <a:pt x="892" y="285"/>
                  <a:pt x="895" y="328"/>
                  <a:pt x="886" y="337"/>
                </a:cubicBezTo>
                <a:cubicBezTo>
                  <a:pt x="877" y="347"/>
                  <a:pt x="851" y="373"/>
                  <a:pt x="838" y="375"/>
                </a:cubicBezTo>
                <a:cubicBezTo>
                  <a:pt x="825" y="377"/>
                  <a:pt x="813" y="356"/>
                  <a:pt x="813" y="356"/>
                </a:cubicBezTo>
                <a:cubicBezTo>
                  <a:pt x="813" y="356"/>
                  <a:pt x="793" y="365"/>
                  <a:pt x="774" y="365"/>
                </a:cubicBezTo>
                <a:cubicBezTo>
                  <a:pt x="756" y="365"/>
                  <a:pt x="730" y="362"/>
                  <a:pt x="730" y="362"/>
                </a:cubicBezTo>
                <a:cubicBezTo>
                  <a:pt x="722" y="375"/>
                  <a:pt x="722" y="375"/>
                  <a:pt x="722" y="375"/>
                </a:cubicBezTo>
                <a:cubicBezTo>
                  <a:pt x="698" y="367"/>
                  <a:pt x="698" y="367"/>
                  <a:pt x="698" y="367"/>
                </a:cubicBezTo>
                <a:cubicBezTo>
                  <a:pt x="678" y="373"/>
                  <a:pt x="678" y="373"/>
                  <a:pt x="678" y="373"/>
                </a:cubicBezTo>
                <a:cubicBezTo>
                  <a:pt x="676" y="365"/>
                  <a:pt x="676" y="365"/>
                  <a:pt x="676" y="365"/>
                </a:cubicBezTo>
                <a:cubicBezTo>
                  <a:pt x="652" y="365"/>
                  <a:pt x="652" y="365"/>
                  <a:pt x="652" y="365"/>
                </a:cubicBezTo>
                <a:cubicBezTo>
                  <a:pt x="652" y="365"/>
                  <a:pt x="642" y="378"/>
                  <a:pt x="626" y="373"/>
                </a:cubicBezTo>
                <a:cubicBezTo>
                  <a:pt x="609" y="367"/>
                  <a:pt x="616" y="362"/>
                  <a:pt x="616" y="362"/>
                </a:cubicBezTo>
                <a:cubicBezTo>
                  <a:pt x="616" y="362"/>
                  <a:pt x="594" y="365"/>
                  <a:pt x="588" y="369"/>
                </a:cubicBezTo>
                <a:cubicBezTo>
                  <a:pt x="583" y="373"/>
                  <a:pt x="560" y="371"/>
                  <a:pt x="555" y="380"/>
                </a:cubicBezTo>
                <a:cubicBezTo>
                  <a:pt x="549" y="390"/>
                  <a:pt x="536" y="391"/>
                  <a:pt x="536" y="404"/>
                </a:cubicBezTo>
                <a:cubicBezTo>
                  <a:pt x="536" y="417"/>
                  <a:pt x="523" y="408"/>
                  <a:pt x="510" y="414"/>
                </a:cubicBezTo>
                <a:cubicBezTo>
                  <a:pt x="497" y="419"/>
                  <a:pt x="467" y="457"/>
                  <a:pt x="467" y="457"/>
                </a:cubicBezTo>
                <a:cubicBezTo>
                  <a:pt x="467" y="457"/>
                  <a:pt x="451" y="464"/>
                  <a:pt x="449" y="475"/>
                </a:cubicBezTo>
                <a:cubicBezTo>
                  <a:pt x="447" y="486"/>
                  <a:pt x="415" y="486"/>
                  <a:pt x="415" y="486"/>
                </a:cubicBezTo>
                <a:cubicBezTo>
                  <a:pt x="415" y="486"/>
                  <a:pt x="395" y="492"/>
                  <a:pt x="382" y="509"/>
                </a:cubicBezTo>
                <a:cubicBezTo>
                  <a:pt x="369" y="525"/>
                  <a:pt x="397" y="520"/>
                  <a:pt x="397" y="520"/>
                </a:cubicBezTo>
                <a:cubicBezTo>
                  <a:pt x="384" y="527"/>
                  <a:pt x="384" y="527"/>
                  <a:pt x="384" y="527"/>
                </a:cubicBezTo>
                <a:cubicBezTo>
                  <a:pt x="384" y="527"/>
                  <a:pt x="391" y="544"/>
                  <a:pt x="391" y="553"/>
                </a:cubicBezTo>
                <a:cubicBezTo>
                  <a:pt x="391" y="563"/>
                  <a:pt x="367" y="553"/>
                  <a:pt x="367" y="553"/>
                </a:cubicBezTo>
                <a:cubicBezTo>
                  <a:pt x="382" y="564"/>
                  <a:pt x="382" y="564"/>
                  <a:pt x="382" y="564"/>
                </a:cubicBezTo>
                <a:cubicBezTo>
                  <a:pt x="371" y="576"/>
                  <a:pt x="371" y="576"/>
                  <a:pt x="371" y="576"/>
                </a:cubicBezTo>
                <a:cubicBezTo>
                  <a:pt x="402" y="587"/>
                  <a:pt x="402" y="587"/>
                  <a:pt x="402" y="587"/>
                </a:cubicBezTo>
                <a:cubicBezTo>
                  <a:pt x="372" y="591"/>
                  <a:pt x="372" y="591"/>
                  <a:pt x="372" y="591"/>
                </a:cubicBezTo>
                <a:cubicBezTo>
                  <a:pt x="372" y="591"/>
                  <a:pt x="387" y="604"/>
                  <a:pt x="387" y="609"/>
                </a:cubicBezTo>
                <a:cubicBezTo>
                  <a:pt x="387" y="615"/>
                  <a:pt x="369" y="615"/>
                  <a:pt x="369" y="615"/>
                </a:cubicBezTo>
                <a:cubicBezTo>
                  <a:pt x="382" y="624"/>
                  <a:pt x="382" y="624"/>
                  <a:pt x="382" y="624"/>
                </a:cubicBezTo>
                <a:cubicBezTo>
                  <a:pt x="400" y="641"/>
                  <a:pt x="400" y="641"/>
                  <a:pt x="400" y="641"/>
                </a:cubicBezTo>
                <a:cubicBezTo>
                  <a:pt x="400" y="656"/>
                  <a:pt x="400" y="656"/>
                  <a:pt x="400" y="656"/>
                </a:cubicBezTo>
                <a:cubicBezTo>
                  <a:pt x="400" y="656"/>
                  <a:pt x="410" y="656"/>
                  <a:pt x="426" y="663"/>
                </a:cubicBezTo>
                <a:cubicBezTo>
                  <a:pt x="443" y="671"/>
                  <a:pt x="464" y="672"/>
                  <a:pt x="464" y="672"/>
                </a:cubicBezTo>
                <a:cubicBezTo>
                  <a:pt x="460" y="687"/>
                  <a:pt x="460" y="687"/>
                  <a:pt x="460" y="687"/>
                </a:cubicBezTo>
                <a:cubicBezTo>
                  <a:pt x="488" y="693"/>
                  <a:pt x="488" y="693"/>
                  <a:pt x="488" y="693"/>
                </a:cubicBezTo>
                <a:cubicBezTo>
                  <a:pt x="490" y="696"/>
                  <a:pt x="490" y="696"/>
                  <a:pt x="490" y="696"/>
                </a:cubicBezTo>
                <a:cubicBezTo>
                  <a:pt x="546" y="697"/>
                  <a:pt x="546" y="697"/>
                  <a:pt x="546" y="697"/>
                </a:cubicBezTo>
                <a:cubicBezTo>
                  <a:pt x="546" y="697"/>
                  <a:pt x="703" y="692"/>
                  <a:pt x="714" y="689"/>
                </a:cubicBezTo>
                <a:cubicBezTo>
                  <a:pt x="725" y="685"/>
                  <a:pt x="766" y="679"/>
                  <a:pt x="766" y="665"/>
                </a:cubicBezTo>
                <a:cubicBezTo>
                  <a:pt x="767" y="651"/>
                  <a:pt x="763" y="581"/>
                  <a:pt x="770" y="575"/>
                </a:cubicBezTo>
                <a:cubicBezTo>
                  <a:pt x="778" y="569"/>
                  <a:pt x="821" y="567"/>
                  <a:pt x="824" y="559"/>
                </a:cubicBezTo>
                <a:cubicBezTo>
                  <a:pt x="826" y="550"/>
                  <a:pt x="820" y="530"/>
                  <a:pt x="825" y="523"/>
                </a:cubicBezTo>
                <a:cubicBezTo>
                  <a:pt x="830" y="516"/>
                  <a:pt x="851" y="522"/>
                  <a:pt x="852" y="508"/>
                </a:cubicBezTo>
                <a:cubicBezTo>
                  <a:pt x="853" y="495"/>
                  <a:pt x="846" y="480"/>
                  <a:pt x="857" y="476"/>
                </a:cubicBezTo>
                <a:cubicBezTo>
                  <a:pt x="868" y="472"/>
                  <a:pt x="896" y="447"/>
                  <a:pt x="902" y="442"/>
                </a:cubicBezTo>
                <a:cubicBezTo>
                  <a:pt x="908" y="438"/>
                  <a:pt x="925" y="446"/>
                  <a:pt x="925" y="446"/>
                </a:cubicBezTo>
                <a:cubicBezTo>
                  <a:pt x="972" y="365"/>
                  <a:pt x="972" y="365"/>
                  <a:pt x="972" y="365"/>
                </a:cubicBezTo>
                <a:cubicBezTo>
                  <a:pt x="972" y="365"/>
                  <a:pt x="974" y="333"/>
                  <a:pt x="998" y="332"/>
                </a:cubicBezTo>
                <a:cubicBezTo>
                  <a:pt x="1022" y="330"/>
                  <a:pt x="1055" y="327"/>
                  <a:pt x="1063" y="318"/>
                </a:cubicBezTo>
                <a:cubicBezTo>
                  <a:pt x="1072" y="310"/>
                  <a:pt x="1072" y="294"/>
                  <a:pt x="1073" y="289"/>
                </a:cubicBezTo>
                <a:cubicBezTo>
                  <a:pt x="1073" y="284"/>
                  <a:pt x="1083" y="282"/>
                  <a:pt x="1083" y="272"/>
                </a:cubicBezTo>
                <a:cubicBezTo>
                  <a:pt x="1083" y="261"/>
                  <a:pt x="1064" y="260"/>
                  <a:pt x="1074" y="246"/>
                </a:cubicBezTo>
                <a:cubicBezTo>
                  <a:pt x="1084" y="232"/>
                  <a:pt x="1104" y="213"/>
                  <a:pt x="1105" y="212"/>
                </a:cubicBezTo>
                <a:cubicBezTo>
                  <a:pt x="1106" y="211"/>
                  <a:pt x="1123" y="211"/>
                  <a:pt x="1123" y="209"/>
                </a:cubicBezTo>
                <a:cubicBezTo>
                  <a:pt x="1123" y="208"/>
                  <a:pt x="1125" y="195"/>
                  <a:pt x="1125" y="195"/>
                </a:cubicBezTo>
                <a:cubicBezTo>
                  <a:pt x="1125" y="195"/>
                  <a:pt x="1154" y="200"/>
                  <a:pt x="1157" y="200"/>
                </a:cubicBezTo>
                <a:cubicBezTo>
                  <a:pt x="1159" y="200"/>
                  <a:pt x="1170" y="182"/>
                  <a:pt x="1189" y="191"/>
                </a:cubicBezTo>
                <a:cubicBezTo>
                  <a:pt x="1209" y="200"/>
                  <a:pt x="1231" y="217"/>
                  <a:pt x="1231" y="217"/>
                </a:cubicBezTo>
                <a:cubicBezTo>
                  <a:pt x="1249" y="211"/>
                  <a:pt x="1249" y="211"/>
                  <a:pt x="1249" y="211"/>
                </a:cubicBezTo>
                <a:cubicBezTo>
                  <a:pt x="1259" y="224"/>
                  <a:pt x="1259" y="224"/>
                  <a:pt x="1259" y="224"/>
                </a:cubicBezTo>
                <a:cubicBezTo>
                  <a:pt x="1267" y="222"/>
                  <a:pt x="1267" y="222"/>
                  <a:pt x="1267" y="222"/>
                </a:cubicBezTo>
                <a:cubicBezTo>
                  <a:pt x="1281" y="219"/>
                  <a:pt x="1281" y="219"/>
                  <a:pt x="1281" y="219"/>
                </a:cubicBezTo>
                <a:cubicBezTo>
                  <a:pt x="1283" y="227"/>
                  <a:pt x="1283" y="227"/>
                  <a:pt x="1283" y="227"/>
                </a:cubicBezTo>
                <a:cubicBezTo>
                  <a:pt x="1293" y="215"/>
                  <a:pt x="1304" y="203"/>
                  <a:pt x="1309" y="203"/>
                </a:cubicBezTo>
                <a:cubicBezTo>
                  <a:pt x="1318" y="203"/>
                  <a:pt x="1323" y="168"/>
                  <a:pt x="1323" y="155"/>
                </a:cubicBezTo>
                <a:cubicBezTo>
                  <a:pt x="1323" y="142"/>
                  <a:pt x="1335" y="127"/>
                  <a:pt x="1335" y="127"/>
                </a:cubicBezTo>
                <a:cubicBezTo>
                  <a:pt x="1335" y="127"/>
                  <a:pt x="1322" y="122"/>
                  <a:pt x="1294" y="107"/>
                </a:cubicBez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13" name="Freeform 192"/>
          <p:cNvSpPr>
            <a:spLocks noEditPoints="1"/>
          </p:cNvSpPr>
          <p:nvPr/>
        </p:nvSpPr>
        <p:spPr bwMode="auto">
          <a:xfrm>
            <a:off x="595313" y="1979613"/>
            <a:ext cx="1617662" cy="738187"/>
          </a:xfrm>
          <a:custGeom>
            <a:avLst/>
            <a:gdLst>
              <a:gd name="T0" fmla="*/ 242 w 1400"/>
              <a:gd name="T1" fmla="*/ 601 h 639"/>
              <a:gd name="T2" fmla="*/ 1375 w 1400"/>
              <a:gd name="T3" fmla="*/ 49 h 639"/>
              <a:gd name="T4" fmla="*/ 1306 w 1400"/>
              <a:gd name="T5" fmla="*/ 17 h 639"/>
              <a:gd name="T6" fmla="*/ 1232 w 1400"/>
              <a:gd name="T7" fmla="*/ 11 h 639"/>
              <a:gd name="T8" fmla="*/ 1142 w 1400"/>
              <a:gd name="T9" fmla="*/ 36 h 639"/>
              <a:gd name="T10" fmla="*/ 1047 w 1400"/>
              <a:gd name="T11" fmla="*/ 47 h 639"/>
              <a:gd name="T12" fmla="*/ 858 w 1400"/>
              <a:gd name="T13" fmla="*/ 69 h 639"/>
              <a:gd name="T14" fmla="*/ 811 w 1400"/>
              <a:gd name="T15" fmla="*/ 75 h 639"/>
              <a:gd name="T16" fmla="*/ 565 w 1400"/>
              <a:gd name="T17" fmla="*/ 164 h 639"/>
              <a:gd name="T18" fmla="*/ 508 w 1400"/>
              <a:gd name="T19" fmla="*/ 192 h 639"/>
              <a:gd name="T20" fmla="*/ 431 w 1400"/>
              <a:gd name="T21" fmla="*/ 253 h 639"/>
              <a:gd name="T22" fmla="*/ 390 w 1400"/>
              <a:gd name="T23" fmla="*/ 240 h 639"/>
              <a:gd name="T24" fmla="*/ 296 w 1400"/>
              <a:gd name="T25" fmla="*/ 272 h 639"/>
              <a:gd name="T26" fmla="*/ 264 w 1400"/>
              <a:gd name="T27" fmla="*/ 272 h 639"/>
              <a:gd name="T28" fmla="*/ 223 w 1400"/>
              <a:gd name="T29" fmla="*/ 322 h 639"/>
              <a:gd name="T30" fmla="*/ 119 w 1400"/>
              <a:gd name="T31" fmla="*/ 434 h 639"/>
              <a:gd name="T32" fmla="*/ 55 w 1400"/>
              <a:gd name="T33" fmla="*/ 475 h 639"/>
              <a:gd name="T34" fmla="*/ 9 w 1400"/>
              <a:gd name="T35" fmla="*/ 553 h 639"/>
              <a:gd name="T36" fmla="*/ 61 w 1400"/>
              <a:gd name="T37" fmla="*/ 560 h 639"/>
              <a:gd name="T38" fmla="*/ 134 w 1400"/>
              <a:gd name="T39" fmla="*/ 618 h 639"/>
              <a:gd name="T40" fmla="*/ 251 w 1400"/>
              <a:gd name="T41" fmla="*/ 577 h 639"/>
              <a:gd name="T42" fmla="*/ 327 w 1400"/>
              <a:gd name="T43" fmla="*/ 534 h 639"/>
              <a:gd name="T44" fmla="*/ 350 w 1400"/>
              <a:gd name="T45" fmla="*/ 523 h 639"/>
              <a:gd name="T46" fmla="*/ 383 w 1400"/>
              <a:gd name="T47" fmla="*/ 519 h 639"/>
              <a:gd name="T48" fmla="*/ 409 w 1400"/>
              <a:gd name="T49" fmla="*/ 534 h 639"/>
              <a:gd name="T50" fmla="*/ 485 w 1400"/>
              <a:gd name="T51" fmla="*/ 519 h 639"/>
              <a:gd name="T52" fmla="*/ 541 w 1400"/>
              <a:gd name="T53" fmla="*/ 482 h 639"/>
              <a:gd name="T54" fmla="*/ 564 w 1400"/>
              <a:gd name="T55" fmla="*/ 458 h 639"/>
              <a:gd name="T56" fmla="*/ 655 w 1400"/>
              <a:gd name="T57" fmla="*/ 343 h 639"/>
              <a:gd name="T58" fmla="*/ 673 w 1400"/>
              <a:gd name="T59" fmla="*/ 346 h 639"/>
              <a:gd name="T60" fmla="*/ 724 w 1400"/>
              <a:gd name="T61" fmla="*/ 307 h 639"/>
              <a:gd name="T62" fmla="*/ 776 w 1400"/>
              <a:gd name="T63" fmla="*/ 298 h 639"/>
              <a:gd name="T64" fmla="*/ 789 w 1400"/>
              <a:gd name="T65" fmla="*/ 318 h 639"/>
              <a:gd name="T66" fmla="*/ 822 w 1400"/>
              <a:gd name="T67" fmla="*/ 330 h 639"/>
              <a:gd name="T68" fmla="*/ 861 w 1400"/>
              <a:gd name="T69" fmla="*/ 337 h 639"/>
              <a:gd name="T70" fmla="*/ 900 w 1400"/>
              <a:gd name="T71" fmla="*/ 356 h 639"/>
              <a:gd name="T72" fmla="*/ 992 w 1400"/>
              <a:gd name="T73" fmla="*/ 352 h 639"/>
              <a:gd name="T74" fmla="*/ 1006 w 1400"/>
              <a:gd name="T75" fmla="*/ 322 h 639"/>
              <a:gd name="T76" fmla="*/ 1031 w 1400"/>
              <a:gd name="T77" fmla="*/ 305 h 639"/>
              <a:gd name="T78" fmla="*/ 1072 w 1400"/>
              <a:gd name="T79" fmla="*/ 292 h 639"/>
              <a:gd name="T80" fmla="*/ 1126 w 1400"/>
              <a:gd name="T81" fmla="*/ 302 h 639"/>
              <a:gd name="T82" fmla="*/ 1144 w 1400"/>
              <a:gd name="T83" fmla="*/ 330 h 639"/>
              <a:gd name="T84" fmla="*/ 1191 w 1400"/>
              <a:gd name="T85" fmla="*/ 294 h 639"/>
              <a:gd name="T86" fmla="*/ 1271 w 1400"/>
              <a:gd name="T87" fmla="*/ 244 h 639"/>
              <a:gd name="T88" fmla="*/ 1343 w 1400"/>
              <a:gd name="T89" fmla="*/ 201 h 639"/>
              <a:gd name="T90" fmla="*/ 1356 w 1400"/>
              <a:gd name="T91" fmla="*/ 149 h 639"/>
              <a:gd name="T92" fmla="*/ 1400 w 1400"/>
              <a:gd name="T93" fmla="*/ 64 h 639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400"/>
              <a:gd name="T142" fmla="*/ 0 h 639"/>
              <a:gd name="T143" fmla="*/ 1400 w 1400"/>
              <a:gd name="T144" fmla="*/ 639 h 639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400" h="639">
                <a:moveTo>
                  <a:pt x="165" y="639"/>
                </a:moveTo>
                <a:cubicBezTo>
                  <a:pt x="242" y="601"/>
                  <a:pt x="242" y="601"/>
                  <a:pt x="242" y="601"/>
                </a:cubicBezTo>
                <a:cubicBezTo>
                  <a:pt x="242" y="601"/>
                  <a:pt x="143" y="625"/>
                  <a:pt x="165" y="639"/>
                </a:cubicBezTo>
                <a:close/>
                <a:moveTo>
                  <a:pt x="1375" y="49"/>
                </a:moveTo>
                <a:cubicBezTo>
                  <a:pt x="1353" y="39"/>
                  <a:pt x="1317" y="73"/>
                  <a:pt x="1310" y="73"/>
                </a:cubicBezTo>
                <a:cubicBezTo>
                  <a:pt x="1302" y="73"/>
                  <a:pt x="1306" y="17"/>
                  <a:pt x="1306" y="17"/>
                </a:cubicBezTo>
                <a:cubicBezTo>
                  <a:pt x="1306" y="17"/>
                  <a:pt x="1256" y="37"/>
                  <a:pt x="1248" y="37"/>
                </a:cubicBezTo>
                <a:cubicBezTo>
                  <a:pt x="1241" y="37"/>
                  <a:pt x="1245" y="23"/>
                  <a:pt x="1232" y="11"/>
                </a:cubicBezTo>
                <a:cubicBezTo>
                  <a:pt x="1219" y="0"/>
                  <a:pt x="1180" y="6"/>
                  <a:pt x="1170" y="6"/>
                </a:cubicBezTo>
                <a:cubicBezTo>
                  <a:pt x="1161" y="6"/>
                  <a:pt x="1155" y="28"/>
                  <a:pt x="1142" y="36"/>
                </a:cubicBezTo>
                <a:cubicBezTo>
                  <a:pt x="1129" y="43"/>
                  <a:pt x="1083" y="34"/>
                  <a:pt x="1083" y="34"/>
                </a:cubicBezTo>
                <a:cubicBezTo>
                  <a:pt x="1083" y="34"/>
                  <a:pt x="1057" y="47"/>
                  <a:pt x="1047" y="47"/>
                </a:cubicBezTo>
                <a:cubicBezTo>
                  <a:pt x="1038" y="47"/>
                  <a:pt x="1029" y="15"/>
                  <a:pt x="1023" y="23"/>
                </a:cubicBezTo>
                <a:cubicBezTo>
                  <a:pt x="1018" y="30"/>
                  <a:pt x="858" y="69"/>
                  <a:pt x="858" y="69"/>
                </a:cubicBezTo>
                <a:cubicBezTo>
                  <a:pt x="858" y="69"/>
                  <a:pt x="835" y="108"/>
                  <a:pt x="820" y="110"/>
                </a:cubicBezTo>
                <a:cubicBezTo>
                  <a:pt x="806" y="112"/>
                  <a:pt x="811" y="90"/>
                  <a:pt x="811" y="75"/>
                </a:cubicBezTo>
                <a:cubicBezTo>
                  <a:pt x="811" y="60"/>
                  <a:pt x="740" y="75"/>
                  <a:pt x="720" y="75"/>
                </a:cubicBezTo>
                <a:cubicBezTo>
                  <a:pt x="699" y="75"/>
                  <a:pt x="565" y="164"/>
                  <a:pt x="565" y="164"/>
                </a:cubicBezTo>
                <a:cubicBezTo>
                  <a:pt x="565" y="164"/>
                  <a:pt x="562" y="190"/>
                  <a:pt x="545" y="203"/>
                </a:cubicBezTo>
                <a:cubicBezTo>
                  <a:pt x="528" y="216"/>
                  <a:pt x="508" y="192"/>
                  <a:pt x="508" y="192"/>
                </a:cubicBezTo>
                <a:cubicBezTo>
                  <a:pt x="508" y="192"/>
                  <a:pt x="451" y="242"/>
                  <a:pt x="435" y="252"/>
                </a:cubicBezTo>
                <a:cubicBezTo>
                  <a:pt x="433" y="253"/>
                  <a:pt x="432" y="253"/>
                  <a:pt x="431" y="253"/>
                </a:cubicBezTo>
                <a:cubicBezTo>
                  <a:pt x="431" y="253"/>
                  <a:pt x="431" y="253"/>
                  <a:pt x="431" y="253"/>
                </a:cubicBezTo>
                <a:cubicBezTo>
                  <a:pt x="422" y="252"/>
                  <a:pt x="390" y="240"/>
                  <a:pt x="390" y="240"/>
                </a:cubicBezTo>
                <a:cubicBezTo>
                  <a:pt x="390" y="240"/>
                  <a:pt x="322" y="276"/>
                  <a:pt x="305" y="279"/>
                </a:cubicBezTo>
                <a:cubicBezTo>
                  <a:pt x="298" y="281"/>
                  <a:pt x="296" y="277"/>
                  <a:pt x="296" y="272"/>
                </a:cubicBezTo>
                <a:cubicBezTo>
                  <a:pt x="296" y="264"/>
                  <a:pt x="301" y="253"/>
                  <a:pt x="301" y="253"/>
                </a:cubicBezTo>
                <a:cubicBezTo>
                  <a:pt x="301" y="253"/>
                  <a:pt x="290" y="250"/>
                  <a:pt x="264" y="272"/>
                </a:cubicBezTo>
                <a:cubicBezTo>
                  <a:pt x="238" y="294"/>
                  <a:pt x="255" y="294"/>
                  <a:pt x="256" y="309"/>
                </a:cubicBezTo>
                <a:cubicBezTo>
                  <a:pt x="258" y="324"/>
                  <a:pt x="240" y="324"/>
                  <a:pt x="223" y="322"/>
                </a:cubicBezTo>
                <a:cubicBezTo>
                  <a:pt x="206" y="320"/>
                  <a:pt x="189" y="330"/>
                  <a:pt x="178" y="350"/>
                </a:cubicBezTo>
                <a:cubicBezTo>
                  <a:pt x="167" y="371"/>
                  <a:pt x="143" y="411"/>
                  <a:pt x="119" y="434"/>
                </a:cubicBezTo>
                <a:cubicBezTo>
                  <a:pt x="95" y="456"/>
                  <a:pt x="104" y="460"/>
                  <a:pt x="100" y="473"/>
                </a:cubicBezTo>
                <a:cubicBezTo>
                  <a:pt x="96" y="486"/>
                  <a:pt x="63" y="475"/>
                  <a:pt x="55" y="475"/>
                </a:cubicBezTo>
                <a:cubicBezTo>
                  <a:pt x="48" y="475"/>
                  <a:pt x="44" y="506"/>
                  <a:pt x="24" y="512"/>
                </a:cubicBezTo>
                <a:cubicBezTo>
                  <a:pt x="3" y="518"/>
                  <a:pt x="0" y="532"/>
                  <a:pt x="9" y="553"/>
                </a:cubicBezTo>
                <a:cubicBezTo>
                  <a:pt x="18" y="573"/>
                  <a:pt x="24" y="575"/>
                  <a:pt x="29" y="585"/>
                </a:cubicBezTo>
                <a:cubicBezTo>
                  <a:pt x="35" y="594"/>
                  <a:pt x="50" y="573"/>
                  <a:pt x="61" y="560"/>
                </a:cubicBezTo>
                <a:cubicBezTo>
                  <a:pt x="72" y="547"/>
                  <a:pt x="91" y="564"/>
                  <a:pt x="102" y="562"/>
                </a:cubicBezTo>
                <a:cubicBezTo>
                  <a:pt x="113" y="560"/>
                  <a:pt x="126" y="612"/>
                  <a:pt x="134" y="618"/>
                </a:cubicBezTo>
                <a:cubicBezTo>
                  <a:pt x="141" y="624"/>
                  <a:pt x="212" y="598"/>
                  <a:pt x="212" y="598"/>
                </a:cubicBezTo>
                <a:cubicBezTo>
                  <a:pt x="251" y="577"/>
                  <a:pt x="251" y="577"/>
                  <a:pt x="251" y="577"/>
                </a:cubicBezTo>
                <a:cubicBezTo>
                  <a:pt x="294" y="551"/>
                  <a:pt x="294" y="551"/>
                  <a:pt x="294" y="551"/>
                </a:cubicBezTo>
                <a:cubicBezTo>
                  <a:pt x="294" y="551"/>
                  <a:pt x="314" y="534"/>
                  <a:pt x="327" y="534"/>
                </a:cubicBezTo>
                <a:cubicBezTo>
                  <a:pt x="340" y="534"/>
                  <a:pt x="338" y="510"/>
                  <a:pt x="338" y="510"/>
                </a:cubicBezTo>
                <a:cubicBezTo>
                  <a:pt x="338" y="510"/>
                  <a:pt x="342" y="523"/>
                  <a:pt x="350" y="523"/>
                </a:cubicBezTo>
                <a:cubicBezTo>
                  <a:pt x="357" y="523"/>
                  <a:pt x="355" y="495"/>
                  <a:pt x="355" y="495"/>
                </a:cubicBezTo>
                <a:cubicBezTo>
                  <a:pt x="355" y="495"/>
                  <a:pt x="366" y="514"/>
                  <a:pt x="383" y="519"/>
                </a:cubicBezTo>
                <a:cubicBezTo>
                  <a:pt x="400" y="525"/>
                  <a:pt x="424" y="514"/>
                  <a:pt x="424" y="514"/>
                </a:cubicBezTo>
                <a:cubicBezTo>
                  <a:pt x="409" y="534"/>
                  <a:pt x="409" y="534"/>
                  <a:pt x="409" y="534"/>
                </a:cubicBezTo>
                <a:cubicBezTo>
                  <a:pt x="409" y="534"/>
                  <a:pt x="435" y="545"/>
                  <a:pt x="454" y="547"/>
                </a:cubicBezTo>
                <a:cubicBezTo>
                  <a:pt x="472" y="549"/>
                  <a:pt x="476" y="527"/>
                  <a:pt x="485" y="519"/>
                </a:cubicBezTo>
                <a:cubicBezTo>
                  <a:pt x="495" y="512"/>
                  <a:pt x="524" y="529"/>
                  <a:pt x="536" y="519"/>
                </a:cubicBezTo>
                <a:cubicBezTo>
                  <a:pt x="547" y="510"/>
                  <a:pt x="541" y="482"/>
                  <a:pt x="541" y="482"/>
                </a:cubicBezTo>
                <a:cubicBezTo>
                  <a:pt x="556" y="488"/>
                  <a:pt x="556" y="488"/>
                  <a:pt x="556" y="488"/>
                </a:cubicBezTo>
                <a:cubicBezTo>
                  <a:pt x="564" y="458"/>
                  <a:pt x="564" y="458"/>
                  <a:pt x="564" y="458"/>
                </a:cubicBezTo>
                <a:cubicBezTo>
                  <a:pt x="564" y="458"/>
                  <a:pt x="562" y="415"/>
                  <a:pt x="582" y="395"/>
                </a:cubicBezTo>
                <a:cubicBezTo>
                  <a:pt x="603" y="374"/>
                  <a:pt x="655" y="343"/>
                  <a:pt x="655" y="343"/>
                </a:cubicBezTo>
                <a:cubicBezTo>
                  <a:pt x="657" y="358"/>
                  <a:pt x="657" y="358"/>
                  <a:pt x="657" y="358"/>
                </a:cubicBezTo>
                <a:cubicBezTo>
                  <a:pt x="673" y="346"/>
                  <a:pt x="673" y="346"/>
                  <a:pt x="673" y="346"/>
                </a:cubicBezTo>
                <a:cubicBezTo>
                  <a:pt x="673" y="346"/>
                  <a:pt x="694" y="339"/>
                  <a:pt x="703" y="337"/>
                </a:cubicBezTo>
                <a:cubicBezTo>
                  <a:pt x="712" y="335"/>
                  <a:pt x="724" y="307"/>
                  <a:pt x="724" y="307"/>
                </a:cubicBezTo>
                <a:cubicBezTo>
                  <a:pt x="724" y="307"/>
                  <a:pt x="733" y="318"/>
                  <a:pt x="740" y="318"/>
                </a:cubicBezTo>
                <a:cubicBezTo>
                  <a:pt x="748" y="318"/>
                  <a:pt x="776" y="298"/>
                  <a:pt x="776" y="298"/>
                </a:cubicBezTo>
                <a:cubicBezTo>
                  <a:pt x="776" y="298"/>
                  <a:pt x="768" y="322"/>
                  <a:pt x="781" y="331"/>
                </a:cubicBezTo>
                <a:cubicBezTo>
                  <a:pt x="794" y="341"/>
                  <a:pt x="789" y="318"/>
                  <a:pt x="789" y="318"/>
                </a:cubicBezTo>
                <a:cubicBezTo>
                  <a:pt x="789" y="318"/>
                  <a:pt x="798" y="317"/>
                  <a:pt x="809" y="317"/>
                </a:cubicBezTo>
                <a:cubicBezTo>
                  <a:pt x="820" y="317"/>
                  <a:pt x="822" y="330"/>
                  <a:pt x="822" y="330"/>
                </a:cubicBezTo>
                <a:cubicBezTo>
                  <a:pt x="843" y="318"/>
                  <a:pt x="843" y="318"/>
                  <a:pt x="843" y="318"/>
                </a:cubicBezTo>
                <a:cubicBezTo>
                  <a:pt x="861" y="337"/>
                  <a:pt x="861" y="337"/>
                  <a:pt x="861" y="337"/>
                </a:cubicBezTo>
                <a:cubicBezTo>
                  <a:pt x="900" y="337"/>
                  <a:pt x="900" y="337"/>
                  <a:pt x="900" y="337"/>
                </a:cubicBezTo>
                <a:cubicBezTo>
                  <a:pt x="900" y="356"/>
                  <a:pt x="900" y="356"/>
                  <a:pt x="900" y="356"/>
                </a:cubicBezTo>
                <a:cubicBezTo>
                  <a:pt x="936" y="339"/>
                  <a:pt x="936" y="339"/>
                  <a:pt x="936" y="339"/>
                </a:cubicBezTo>
                <a:cubicBezTo>
                  <a:pt x="936" y="339"/>
                  <a:pt x="980" y="352"/>
                  <a:pt x="992" y="352"/>
                </a:cubicBezTo>
                <a:cubicBezTo>
                  <a:pt x="1003" y="352"/>
                  <a:pt x="993" y="322"/>
                  <a:pt x="993" y="322"/>
                </a:cubicBezTo>
                <a:cubicBezTo>
                  <a:pt x="1006" y="322"/>
                  <a:pt x="1006" y="322"/>
                  <a:pt x="1006" y="322"/>
                </a:cubicBezTo>
                <a:cubicBezTo>
                  <a:pt x="1008" y="300"/>
                  <a:pt x="1008" y="300"/>
                  <a:pt x="1008" y="300"/>
                </a:cubicBezTo>
                <a:cubicBezTo>
                  <a:pt x="1031" y="305"/>
                  <a:pt x="1031" y="305"/>
                  <a:pt x="1031" y="305"/>
                </a:cubicBezTo>
                <a:cubicBezTo>
                  <a:pt x="1066" y="279"/>
                  <a:pt x="1066" y="279"/>
                  <a:pt x="1066" y="279"/>
                </a:cubicBezTo>
                <a:cubicBezTo>
                  <a:pt x="1072" y="292"/>
                  <a:pt x="1072" y="292"/>
                  <a:pt x="1072" y="292"/>
                </a:cubicBezTo>
                <a:cubicBezTo>
                  <a:pt x="1103" y="302"/>
                  <a:pt x="1103" y="302"/>
                  <a:pt x="1103" y="302"/>
                </a:cubicBezTo>
                <a:cubicBezTo>
                  <a:pt x="1103" y="302"/>
                  <a:pt x="1114" y="294"/>
                  <a:pt x="1126" y="302"/>
                </a:cubicBezTo>
                <a:cubicBezTo>
                  <a:pt x="1137" y="309"/>
                  <a:pt x="1126" y="320"/>
                  <a:pt x="1126" y="320"/>
                </a:cubicBezTo>
                <a:cubicBezTo>
                  <a:pt x="1144" y="330"/>
                  <a:pt x="1144" y="330"/>
                  <a:pt x="1144" y="330"/>
                </a:cubicBezTo>
                <a:cubicBezTo>
                  <a:pt x="1152" y="346"/>
                  <a:pt x="1152" y="346"/>
                  <a:pt x="1152" y="346"/>
                </a:cubicBezTo>
                <a:cubicBezTo>
                  <a:pt x="1153" y="343"/>
                  <a:pt x="1173" y="301"/>
                  <a:pt x="1191" y="294"/>
                </a:cubicBezTo>
                <a:cubicBezTo>
                  <a:pt x="1209" y="287"/>
                  <a:pt x="1239" y="294"/>
                  <a:pt x="1247" y="277"/>
                </a:cubicBezTo>
                <a:cubicBezTo>
                  <a:pt x="1254" y="261"/>
                  <a:pt x="1260" y="244"/>
                  <a:pt x="1271" y="244"/>
                </a:cubicBezTo>
                <a:cubicBezTo>
                  <a:pt x="1282" y="244"/>
                  <a:pt x="1302" y="207"/>
                  <a:pt x="1317" y="207"/>
                </a:cubicBezTo>
                <a:cubicBezTo>
                  <a:pt x="1332" y="207"/>
                  <a:pt x="1334" y="212"/>
                  <a:pt x="1343" y="201"/>
                </a:cubicBezTo>
                <a:cubicBezTo>
                  <a:pt x="1345" y="200"/>
                  <a:pt x="1346" y="198"/>
                  <a:pt x="1346" y="197"/>
                </a:cubicBezTo>
                <a:cubicBezTo>
                  <a:pt x="1353" y="186"/>
                  <a:pt x="1353" y="172"/>
                  <a:pt x="1356" y="149"/>
                </a:cubicBezTo>
                <a:cubicBezTo>
                  <a:pt x="1360" y="123"/>
                  <a:pt x="1362" y="65"/>
                  <a:pt x="1382" y="65"/>
                </a:cubicBezTo>
                <a:cubicBezTo>
                  <a:pt x="1389" y="65"/>
                  <a:pt x="1395" y="65"/>
                  <a:pt x="1400" y="64"/>
                </a:cubicBezTo>
                <a:cubicBezTo>
                  <a:pt x="1396" y="60"/>
                  <a:pt x="1388" y="54"/>
                  <a:pt x="1375" y="49"/>
                </a:cubicBez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14" name="Freeform 193"/>
          <p:cNvSpPr>
            <a:spLocks noEditPoints="1"/>
          </p:cNvSpPr>
          <p:nvPr/>
        </p:nvSpPr>
        <p:spPr bwMode="auto">
          <a:xfrm>
            <a:off x="760413" y="1801813"/>
            <a:ext cx="1771650" cy="522287"/>
          </a:xfrm>
          <a:custGeom>
            <a:avLst/>
            <a:gdLst>
              <a:gd name="T0" fmla="*/ 1500 w 1533"/>
              <a:gd name="T1" fmla="*/ 257 h 452"/>
              <a:gd name="T2" fmla="*/ 1496 w 1533"/>
              <a:gd name="T3" fmla="*/ 230 h 452"/>
              <a:gd name="T4" fmla="*/ 1409 w 1533"/>
              <a:gd name="T5" fmla="*/ 163 h 452"/>
              <a:gd name="T6" fmla="*/ 1360 w 1533"/>
              <a:gd name="T7" fmla="*/ 214 h 452"/>
              <a:gd name="T8" fmla="*/ 1357 w 1533"/>
              <a:gd name="T9" fmla="*/ 204 h 452"/>
              <a:gd name="T10" fmla="*/ 1243 w 1533"/>
              <a:gd name="T11" fmla="*/ 177 h 452"/>
              <a:gd name="T12" fmla="*/ 1254 w 1533"/>
              <a:gd name="T13" fmla="*/ 163 h 452"/>
              <a:gd name="T14" fmla="*/ 1241 w 1533"/>
              <a:gd name="T15" fmla="*/ 124 h 452"/>
              <a:gd name="T16" fmla="*/ 1141 w 1533"/>
              <a:gd name="T17" fmla="*/ 154 h 452"/>
              <a:gd name="T18" fmla="*/ 1061 w 1533"/>
              <a:gd name="T19" fmla="*/ 119 h 452"/>
              <a:gd name="T20" fmla="*/ 1003 w 1533"/>
              <a:gd name="T21" fmla="*/ 124 h 452"/>
              <a:gd name="T22" fmla="*/ 912 w 1533"/>
              <a:gd name="T23" fmla="*/ 117 h 452"/>
              <a:gd name="T24" fmla="*/ 837 w 1533"/>
              <a:gd name="T25" fmla="*/ 128 h 452"/>
              <a:gd name="T26" fmla="*/ 728 w 1533"/>
              <a:gd name="T27" fmla="*/ 160 h 452"/>
              <a:gd name="T28" fmla="*/ 612 w 1533"/>
              <a:gd name="T29" fmla="*/ 119 h 452"/>
              <a:gd name="T30" fmla="*/ 616 w 1533"/>
              <a:gd name="T31" fmla="*/ 182 h 452"/>
              <a:gd name="T32" fmla="*/ 551 w 1533"/>
              <a:gd name="T33" fmla="*/ 149 h 452"/>
              <a:gd name="T34" fmla="*/ 515 w 1533"/>
              <a:gd name="T35" fmla="*/ 104 h 452"/>
              <a:gd name="T36" fmla="*/ 486 w 1533"/>
              <a:gd name="T37" fmla="*/ 56 h 452"/>
              <a:gd name="T38" fmla="*/ 439 w 1533"/>
              <a:gd name="T39" fmla="*/ 50 h 452"/>
              <a:gd name="T40" fmla="*/ 395 w 1533"/>
              <a:gd name="T41" fmla="*/ 70 h 452"/>
              <a:gd name="T42" fmla="*/ 361 w 1533"/>
              <a:gd name="T43" fmla="*/ 83 h 452"/>
              <a:gd name="T44" fmla="*/ 296 w 1533"/>
              <a:gd name="T45" fmla="*/ 48 h 452"/>
              <a:gd name="T46" fmla="*/ 341 w 1533"/>
              <a:gd name="T47" fmla="*/ 136 h 452"/>
              <a:gd name="T48" fmla="*/ 281 w 1533"/>
              <a:gd name="T49" fmla="*/ 141 h 452"/>
              <a:gd name="T50" fmla="*/ 285 w 1533"/>
              <a:gd name="T51" fmla="*/ 59 h 452"/>
              <a:gd name="T52" fmla="*/ 205 w 1533"/>
              <a:gd name="T53" fmla="*/ 95 h 452"/>
              <a:gd name="T54" fmla="*/ 242 w 1533"/>
              <a:gd name="T55" fmla="*/ 167 h 452"/>
              <a:gd name="T56" fmla="*/ 149 w 1533"/>
              <a:gd name="T57" fmla="*/ 121 h 452"/>
              <a:gd name="T58" fmla="*/ 132 w 1533"/>
              <a:gd name="T59" fmla="*/ 134 h 452"/>
              <a:gd name="T60" fmla="*/ 125 w 1533"/>
              <a:gd name="T61" fmla="*/ 165 h 452"/>
              <a:gd name="T62" fmla="*/ 110 w 1533"/>
              <a:gd name="T63" fmla="*/ 178 h 452"/>
              <a:gd name="T64" fmla="*/ 19 w 1533"/>
              <a:gd name="T65" fmla="*/ 238 h 452"/>
              <a:gd name="T66" fmla="*/ 86 w 1533"/>
              <a:gd name="T67" fmla="*/ 337 h 452"/>
              <a:gd name="T68" fmla="*/ 141 w 1533"/>
              <a:gd name="T69" fmla="*/ 361 h 452"/>
              <a:gd name="T70" fmla="*/ 177 w 1533"/>
              <a:gd name="T71" fmla="*/ 374 h 452"/>
              <a:gd name="T72" fmla="*/ 247 w 1533"/>
              <a:gd name="T73" fmla="*/ 394 h 452"/>
              <a:gd name="T74" fmla="*/ 402 w 1533"/>
              <a:gd name="T75" fmla="*/ 357 h 452"/>
              <a:gd name="T76" fmla="*/ 677 w 1533"/>
              <a:gd name="T77" fmla="*/ 264 h 452"/>
              <a:gd name="T78" fmla="*/ 940 w 1533"/>
              <a:gd name="T79" fmla="*/ 188 h 452"/>
              <a:gd name="T80" fmla="*/ 1105 w 1533"/>
              <a:gd name="T81" fmla="*/ 191 h 452"/>
              <a:gd name="T82" fmla="*/ 1257 w 1533"/>
              <a:gd name="T83" fmla="*/ 218 h 452"/>
              <a:gd name="T84" fmla="*/ 1267 w 1533"/>
              <a:gd name="T85" fmla="*/ 314 h 452"/>
              <a:gd name="T86" fmla="*/ 1411 w 1533"/>
              <a:gd name="T87" fmla="*/ 322 h 452"/>
              <a:gd name="T88" fmla="*/ 1400 w 1533"/>
              <a:gd name="T89" fmla="*/ 442 h 452"/>
              <a:gd name="T90" fmla="*/ 1444 w 1533"/>
              <a:gd name="T91" fmla="*/ 452 h 452"/>
              <a:gd name="T92" fmla="*/ 1533 w 1533"/>
              <a:gd name="T93" fmla="*/ 325 h 452"/>
              <a:gd name="T94" fmla="*/ 1167 w 1533"/>
              <a:gd name="T95" fmla="*/ 111 h 452"/>
              <a:gd name="T96" fmla="*/ 1135 w 1533"/>
              <a:gd name="T97" fmla="*/ 50 h 452"/>
              <a:gd name="T98" fmla="*/ 1053 w 1533"/>
              <a:gd name="T99" fmla="*/ 56 h 452"/>
              <a:gd name="T100" fmla="*/ 1219 w 1533"/>
              <a:gd name="T101" fmla="*/ 93 h 452"/>
              <a:gd name="T102" fmla="*/ 1310 w 1533"/>
              <a:gd name="T103" fmla="*/ 111 h 45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533"/>
              <a:gd name="T157" fmla="*/ 0 h 452"/>
              <a:gd name="T158" fmla="*/ 1533 w 1533"/>
              <a:gd name="T159" fmla="*/ 452 h 452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533" h="452">
                <a:moveTo>
                  <a:pt x="1533" y="311"/>
                </a:moveTo>
                <a:cubicBezTo>
                  <a:pt x="1533" y="311"/>
                  <a:pt x="1533" y="290"/>
                  <a:pt x="1533" y="284"/>
                </a:cubicBezTo>
                <a:cubicBezTo>
                  <a:pt x="1533" y="279"/>
                  <a:pt x="1480" y="286"/>
                  <a:pt x="1480" y="286"/>
                </a:cubicBezTo>
                <a:cubicBezTo>
                  <a:pt x="1500" y="257"/>
                  <a:pt x="1500" y="257"/>
                  <a:pt x="1500" y="257"/>
                </a:cubicBezTo>
                <a:cubicBezTo>
                  <a:pt x="1407" y="277"/>
                  <a:pt x="1407" y="277"/>
                  <a:pt x="1407" y="277"/>
                </a:cubicBezTo>
                <a:cubicBezTo>
                  <a:pt x="1407" y="277"/>
                  <a:pt x="1407" y="268"/>
                  <a:pt x="1416" y="255"/>
                </a:cubicBezTo>
                <a:cubicBezTo>
                  <a:pt x="1426" y="242"/>
                  <a:pt x="1468" y="253"/>
                  <a:pt x="1483" y="245"/>
                </a:cubicBezTo>
                <a:cubicBezTo>
                  <a:pt x="1498" y="238"/>
                  <a:pt x="1504" y="230"/>
                  <a:pt x="1496" y="230"/>
                </a:cubicBezTo>
                <a:cubicBezTo>
                  <a:pt x="1489" y="230"/>
                  <a:pt x="1472" y="214"/>
                  <a:pt x="1472" y="214"/>
                </a:cubicBezTo>
                <a:cubicBezTo>
                  <a:pt x="1433" y="214"/>
                  <a:pt x="1433" y="214"/>
                  <a:pt x="1433" y="214"/>
                </a:cubicBezTo>
                <a:cubicBezTo>
                  <a:pt x="1444" y="193"/>
                  <a:pt x="1444" y="193"/>
                  <a:pt x="1444" y="193"/>
                </a:cubicBezTo>
                <a:cubicBezTo>
                  <a:pt x="1444" y="193"/>
                  <a:pt x="1433" y="171"/>
                  <a:pt x="1409" y="163"/>
                </a:cubicBezTo>
                <a:cubicBezTo>
                  <a:pt x="1385" y="156"/>
                  <a:pt x="1403" y="177"/>
                  <a:pt x="1403" y="177"/>
                </a:cubicBezTo>
                <a:cubicBezTo>
                  <a:pt x="1420" y="201"/>
                  <a:pt x="1420" y="201"/>
                  <a:pt x="1420" y="201"/>
                </a:cubicBezTo>
                <a:cubicBezTo>
                  <a:pt x="1420" y="201"/>
                  <a:pt x="1401" y="206"/>
                  <a:pt x="1396" y="212"/>
                </a:cubicBezTo>
                <a:cubicBezTo>
                  <a:pt x="1390" y="217"/>
                  <a:pt x="1360" y="214"/>
                  <a:pt x="1360" y="214"/>
                </a:cubicBezTo>
                <a:cubicBezTo>
                  <a:pt x="1360" y="214"/>
                  <a:pt x="1379" y="199"/>
                  <a:pt x="1388" y="197"/>
                </a:cubicBezTo>
                <a:cubicBezTo>
                  <a:pt x="1398" y="195"/>
                  <a:pt x="1377" y="184"/>
                  <a:pt x="1377" y="184"/>
                </a:cubicBezTo>
                <a:cubicBezTo>
                  <a:pt x="1360" y="169"/>
                  <a:pt x="1360" y="169"/>
                  <a:pt x="1360" y="169"/>
                </a:cubicBezTo>
                <a:cubicBezTo>
                  <a:pt x="1357" y="204"/>
                  <a:pt x="1357" y="204"/>
                  <a:pt x="1357" y="204"/>
                </a:cubicBezTo>
                <a:cubicBezTo>
                  <a:pt x="1331" y="206"/>
                  <a:pt x="1331" y="206"/>
                  <a:pt x="1331" y="206"/>
                </a:cubicBezTo>
                <a:cubicBezTo>
                  <a:pt x="1331" y="188"/>
                  <a:pt x="1331" y="188"/>
                  <a:pt x="1331" y="188"/>
                </a:cubicBezTo>
                <a:cubicBezTo>
                  <a:pt x="1331" y="188"/>
                  <a:pt x="1316" y="177"/>
                  <a:pt x="1306" y="182"/>
                </a:cubicBezTo>
                <a:cubicBezTo>
                  <a:pt x="1297" y="188"/>
                  <a:pt x="1243" y="177"/>
                  <a:pt x="1243" y="177"/>
                </a:cubicBezTo>
                <a:cubicBezTo>
                  <a:pt x="1296" y="155"/>
                  <a:pt x="1296" y="155"/>
                  <a:pt x="1296" y="155"/>
                </a:cubicBezTo>
                <a:cubicBezTo>
                  <a:pt x="1291" y="156"/>
                  <a:pt x="1284" y="157"/>
                  <a:pt x="1275" y="156"/>
                </a:cubicBezTo>
                <a:cubicBezTo>
                  <a:pt x="1261" y="155"/>
                  <a:pt x="1256" y="157"/>
                  <a:pt x="1254" y="159"/>
                </a:cubicBezTo>
                <a:cubicBezTo>
                  <a:pt x="1254" y="163"/>
                  <a:pt x="1254" y="163"/>
                  <a:pt x="1254" y="163"/>
                </a:cubicBezTo>
                <a:cubicBezTo>
                  <a:pt x="1254" y="163"/>
                  <a:pt x="1252" y="161"/>
                  <a:pt x="1254" y="159"/>
                </a:cubicBezTo>
                <a:cubicBezTo>
                  <a:pt x="1254" y="130"/>
                  <a:pt x="1254" y="130"/>
                  <a:pt x="1254" y="130"/>
                </a:cubicBezTo>
                <a:cubicBezTo>
                  <a:pt x="1236" y="143"/>
                  <a:pt x="1236" y="143"/>
                  <a:pt x="1236" y="143"/>
                </a:cubicBezTo>
                <a:cubicBezTo>
                  <a:pt x="1236" y="143"/>
                  <a:pt x="1241" y="132"/>
                  <a:pt x="1241" y="124"/>
                </a:cubicBezTo>
                <a:cubicBezTo>
                  <a:pt x="1241" y="117"/>
                  <a:pt x="1212" y="132"/>
                  <a:pt x="1202" y="126"/>
                </a:cubicBezTo>
                <a:cubicBezTo>
                  <a:pt x="1193" y="121"/>
                  <a:pt x="1176" y="141"/>
                  <a:pt x="1176" y="141"/>
                </a:cubicBezTo>
                <a:cubicBezTo>
                  <a:pt x="1176" y="141"/>
                  <a:pt x="1156" y="128"/>
                  <a:pt x="1137" y="132"/>
                </a:cubicBezTo>
                <a:cubicBezTo>
                  <a:pt x="1118" y="136"/>
                  <a:pt x="1141" y="154"/>
                  <a:pt x="1141" y="154"/>
                </a:cubicBezTo>
                <a:cubicBezTo>
                  <a:pt x="1105" y="152"/>
                  <a:pt x="1105" y="152"/>
                  <a:pt x="1105" y="152"/>
                </a:cubicBezTo>
                <a:cubicBezTo>
                  <a:pt x="1076" y="139"/>
                  <a:pt x="1076" y="139"/>
                  <a:pt x="1076" y="139"/>
                </a:cubicBezTo>
                <a:cubicBezTo>
                  <a:pt x="1076" y="139"/>
                  <a:pt x="1083" y="130"/>
                  <a:pt x="1083" y="115"/>
                </a:cubicBezTo>
                <a:cubicBezTo>
                  <a:pt x="1083" y="100"/>
                  <a:pt x="1061" y="119"/>
                  <a:pt x="1061" y="119"/>
                </a:cubicBezTo>
                <a:cubicBezTo>
                  <a:pt x="1061" y="119"/>
                  <a:pt x="1044" y="117"/>
                  <a:pt x="1031" y="119"/>
                </a:cubicBezTo>
                <a:cubicBezTo>
                  <a:pt x="1018" y="121"/>
                  <a:pt x="1012" y="154"/>
                  <a:pt x="1012" y="154"/>
                </a:cubicBezTo>
                <a:cubicBezTo>
                  <a:pt x="1012" y="154"/>
                  <a:pt x="1011" y="139"/>
                  <a:pt x="1016" y="124"/>
                </a:cubicBezTo>
                <a:cubicBezTo>
                  <a:pt x="1022" y="110"/>
                  <a:pt x="1003" y="124"/>
                  <a:pt x="1003" y="124"/>
                </a:cubicBezTo>
                <a:cubicBezTo>
                  <a:pt x="990" y="162"/>
                  <a:pt x="990" y="162"/>
                  <a:pt x="990" y="162"/>
                </a:cubicBezTo>
                <a:cubicBezTo>
                  <a:pt x="992" y="136"/>
                  <a:pt x="992" y="136"/>
                  <a:pt x="992" y="136"/>
                </a:cubicBezTo>
                <a:cubicBezTo>
                  <a:pt x="955" y="115"/>
                  <a:pt x="955" y="115"/>
                  <a:pt x="955" y="115"/>
                </a:cubicBezTo>
                <a:cubicBezTo>
                  <a:pt x="912" y="117"/>
                  <a:pt x="912" y="117"/>
                  <a:pt x="912" y="117"/>
                </a:cubicBezTo>
                <a:cubicBezTo>
                  <a:pt x="888" y="132"/>
                  <a:pt x="888" y="132"/>
                  <a:pt x="888" y="132"/>
                </a:cubicBezTo>
                <a:cubicBezTo>
                  <a:pt x="897" y="156"/>
                  <a:pt x="897" y="156"/>
                  <a:pt x="897" y="156"/>
                </a:cubicBezTo>
                <a:cubicBezTo>
                  <a:pt x="867" y="145"/>
                  <a:pt x="867" y="145"/>
                  <a:pt x="867" y="145"/>
                </a:cubicBezTo>
                <a:cubicBezTo>
                  <a:pt x="867" y="145"/>
                  <a:pt x="850" y="128"/>
                  <a:pt x="837" y="128"/>
                </a:cubicBezTo>
                <a:cubicBezTo>
                  <a:pt x="824" y="128"/>
                  <a:pt x="793" y="147"/>
                  <a:pt x="769" y="141"/>
                </a:cubicBezTo>
                <a:cubicBezTo>
                  <a:pt x="744" y="136"/>
                  <a:pt x="759" y="154"/>
                  <a:pt x="759" y="154"/>
                </a:cubicBezTo>
                <a:cubicBezTo>
                  <a:pt x="759" y="154"/>
                  <a:pt x="744" y="147"/>
                  <a:pt x="739" y="143"/>
                </a:cubicBezTo>
                <a:cubicBezTo>
                  <a:pt x="733" y="139"/>
                  <a:pt x="728" y="160"/>
                  <a:pt x="728" y="160"/>
                </a:cubicBezTo>
                <a:cubicBezTo>
                  <a:pt x="728" y="160"/>
                  <a:pt x="724" y="141"/>
                  <a:pt x="715" y="134"/>
                </a:cubicBezTo>
                <a:cubicBezTo>
                  <a:pt x="705" y="126"/>
                  <a:pt x="694" y="158"/>
                  <a:pt x="689" y="160"/>
                </a:cubicBezTo>
                <a:cubicBezTo>
                  <a:pt x="683" y="162"/>
                  <a:pt x="672" y="134"/>
                  <a:pt x="672" y="134"/>
                </a:cubicBezTo>
                <a:cubicBezTo>
                  <a:pt x="672" y="134"/>
                  <a:pt x="629" y="123"/>
                  <a:pt x="612" y="119"/>
                </a:cubicBezTo>
                <a:cubicBezTo>
                  <a:pt x="596" y="115"/>
                  <a:pt x="575" y="123"/>
                  <a:pt x="571" y="137"/>
                </a:cubicBezTo>
                <a:cubicBezTo>
                  <a:pt x="568" y="152"/>
                  <a:pt x="610" y="150"/>
                  <a:pt x="616" y="150"/>
                </a:cubicBezTo>
                <a:cubicBezTo>
                  <a:pt x="622" y="150"/>
                  <a:pt x="640" y="167"/>
                  <a:pt x="640" y="167"/>
                </a:cubicBezTo>
                <a:cubicBezTo>
                  <a:pt x="616" y="182"/>
                  <a:pt x="616" y="182"/>
                  <a:pt x="616" y="182"/>
                </a:cubicBezTo>
                <a:cubicBezTo>
                  <a:pt x="586" y="169"/>
                  <a:pt x="586" y="169"/>
                  <a:pt x="586" y="169"/>
                </a:cubicBezTo>
                <a:cubicBezTo>
                  <a:pt x="573" y="173"/>
                  <a:pt x="573" y="173"/>
                  <a:pt x="573" y="173"/>
                </a:cubicBezTo>
                <a:cubicBezTo>
                  <a:pt x="545" y="163"/>
                  <a:pt x="545" y="163"/>
                  <a:pt x="545" y="163"/>
                </a:cubicBezTo>
                <a:cubicBezTo>
                  <a:pt x="551" y="149"/>
                  <a:pt x="551" y="149"/>
                  <a:pt x="551" y="149"/>
                </a:cubicBezTo>
                <a:cubicBezTo>
                  <a:pt x="549" y="119"/>
                  <a:pt x="549" y="119"/>
                  <a:pt x="549" y="119"/>
                </a:cubicBezTo>
                <a:cubicBezTo>
                  <a:pt x="542" y="83"/>
                  <a:pt x="542" y="83"/>
                  <a:pt x="542" y="83"/>
                </a:cubicBezTo>
                <a:cubicBezTo>
                  <a:pt x="542" y="104"/>
                  <a:pt x="542" y="104"/>
                  <a:pt x="542" y="104"/>
                </a:cubicBezTo>
                <a:cubicBezTo>
                  <a:pt x="515" y="104"/>
                  <a:pt x="515" y="104"/>
                  <a:pt x="515" y="104"/>
                </a:cubicBezTo>
                <a:cubicBezTo>
                  <a:pt x="499" y="96"/>
                  <a:pt x="499" y="96"/>
                  <a:pt x="499" y="96"/>
                </a:cubicBezTo>
                <a:cubicBezTo>
                  <a:pt x="469" y="111"/>
                  <a:pt x="469" y="111"/>
                  <a:pt x="469" y="111"/>
                </a:cubicBezTo>
                <a:cubicBezTo>
                  <a:pt x="489" y="89"/>
                  <a:pt x="489" y="89"/>
                  <a:pt x="489" y="89"/>
                </a:cubicBezTo>
                <a:cubicBezTo>
                  <a:pt x="486" y="56"/>
                  <a:pt x="486" y="56"/>
                  <a:pt x="486" y="56"/>
                </a:cubicBezTo>
                <a:cubicBezTo>
                  <a:pt x="463" y="69"/>
                  <a:pt x="463" y="69"/>
                  <a:pt x="463" y="69"/>
                </a:cubicBezTo>
                <a:cubicBezTo>
                  <a:pt x="471" y="89"/>
                  <a:pt x="471" y="89"/>
                  <a:pt x="471" y="89"/>
                </a:cubicBezTo>
                <a:cubicBezTo>
                  <a:pt x="450" y="89"/>
                  <a:pt x="450" y="89"/>
                  <a:pt x="450" y="89"/>
                </a:cubicBezTo>
                <a:cubicBezTo>
                  <a:pt x="450" y="89"/>
                  <a:pt x="443" y="39"/>
                  <a:pt x="439" y="50"/>
                </a:cubicBezTo>
                <a:cubicBezTo>
                  <a:pt x="435" y="61"/>
                  <a:pt x="419" y="104"/>
                  <a:pt x="419" y="104"/>
                </a:cubicBezTo>
                <a:cubicBezTo>
                  <a:pt x="419" y="104"/>
                  <a:pt x="409" y="98"/>
                  <a:pt x="406" y="93"/>
                </a:cubicBezTo>
                <a:cubicBezTo>
                  <a:pt x="402" y="87"/>
                  <a:pt x="422" y="70"/>
                  <a:pt x="422" y="70"/>
                </a:cubicBezTo>
                <a:cubicBezTo>
                  <a:pt x="395" y="70"/>
                  <a:pt x="395" y="70"/>
                  <a:pt x="395" y="70"/>
                </a:cubicBezTo>
                <a:cubicBezTo>
                  <a:pt x="408" y="41"/>
                  <a:pt x="408" y="41"/>
                  <a:pt x="408" y="41"/>
                </a:cubicBezTo>
                <a:cubicBezTo>
                  <a:pt x="387" y="41"/>
                  <a:pt x="387" y="41"/>
                  <a:pt x="387" y="41"/>
                </a:cubicBezTo>
                <a:cubicBezTo>
                  <a:pt x="387" y="41"/>
                  <a:pt x="391" y="22"/>
                  <a:pt x="376" y="31"/>
                </a:cubicBezTo>
                <a:cubicBezTo>
                  <a:pt x="361" y="41"/>
                  <a:pt x="385" y="106"/>
                  <a:pt x="361" y="83"/>
                </a:cubicBezTo>
                <a:cubicBezTo>
                  <a:pt x="337" y="61"/>
                  <a:pt x="365" y="37"/>
                  <a:pt x="355" y="18"/>
                </a:cubicBezTo>
                <a:cubicBezTo>
                  <a:pt x="346" y="0"/>
                  <a:pt x="322" y="39"/>
                  <a:pt x="322" y="39"/>
                </a:cubicBezTo>
                <a:cubicBezTo>
                  <a:pt x="320" y="59"/>
                  <a:pt x="320" y="59"/>
                  <a:pt x="320" y="59"/>
                </a:cubicBezTo>
                <a:cubicBezTo>
                  <a:pt x="296" y="48"/>
                  <a:pt x="296" y="48"/>
                  <a:pt x="296" y="48"/>
                </a:cubicBezTo>
                <a:cubicBezTo>
                  <a:pt x="300" y="100"/>
                  <a:pt x="300" y="100"/>
                  <a:pt x="300" y="100"/>
                </a:cubicBezTo>
                <a:cubicBezTo>
                  <a:pt x="328" y="108"/>
                  <a:pt x="328" y="108"/>
                  <a:pt x="328" y="108"/>
                </a:cubicBezTo>
                <a:cubicBezTo>
                  <a:pt x="311" y="113"/>
                  <a:pt x="311" y="113"/>
                  <a:pt x="311" y="113"/>
                </a:cubicBezTo>
                <a:cubicBezTo>
                  <a:pt x="341" y="136"/>
                  <a:pt x="341" y="136"/>
                  <a:pt x="341" y="136"/>
                </a:cubicBezTo>
                <a:cubicBezTo>
                  <a:pt x="314" y="145"/>
                  <a:pt x="314" y="145"/>
                  <a:pt x="314" y="145"/>
                </a:cubicBezTo>
                <a:cubicBezTo>
                  <a:pt x="313" y="158"/>
                  <a:pt x="313" y="158"/>
                  <a:pt x="313" y="158"/>
                </a:cubicBezTo>
                <a:cubicBezTo>
                  <a:pt x="300" y="143"/>
                  <a:pt x="300" y="143"/>
                  <a:pt x="300" y="143"/>
                </a:cubicBezTo>
                <a:cubicBezTo>
                  <a:pt x="281" y="141"/>
                  <a:pt x="281" y="141"/>
                  <a:pt x="281" y="141"/>
                </a:cubicBezTo>
                <a:cubicBezTo>
                  <a:pt x="300" y="130"/>
                  <a:pt x="300" y="130"/>
                  <a:pt x="300" y="130"/>
                </a:cubicBezTo>
                <a:cubicBezTo>
                  <a:pt x="281" y="111"/>
                  <a:pt x="281" y="111"/>
                  <a:pt x="281" y="111"/>
                </a:cubicBezTo>
                <a:cubicBezTo>
                  <a:pt x="290" y="98"/>
                  <a:pt x="290" y="98"/>
                  <a:pt x="290" y="98"/>
                </a:cubicBezTo>
                <a:cubicBezTo>
                  <a:pt x="285" y="59"/>
                  <a:pt x="285" y="59"/>
                  <a:pt x="285" y="59"/>
                </a:cubicBezTo>
                <a:cubicBezTo>
                  <a:pt x="255" y="70"/>
                  <a:pt x="255" y="70"/>
                  <a:pt x="255" y="70"/>
                </a:cubicBezTo>
                <a:cubicBezTo>
                  <a:pt x="236" y="82"/>
                  <a:pt x="236" y="82"/>
                  <a:pt x="236" y="82"/>
                </a:cubicBezTo>
                <a:cubicBezTo>
                  <a:pt x="233" y="100"/>
                  <a:pt x="233" y="100"/>
                  <a:pt x="233" y="100"/>
                </a:cubicBezTo>
                <a:cubicBezTo>
                  <a:pt x="205" y="95"/>
                  <a:pt x="205" y="95"/>
                  <a:pt x="205" y="95"/>
                </a:cubicBezTo>
                <a:cubicBezTo>
                  <a:pt x="208" y="115"/>
                  <a:pt x="208" y="115"/>
                  <a:pt x="208" y="115"/>
                </a:cubicBezTo>
                <a:cubicBezTo>
                  <a:pt x="199" y="124"/>
                  <a:pt x="199" y="124"/>
                  <a:pt x="199" y="124"/>
                </a:cubicBezTo>
                <a:cubicBezTo>
                  <a:pt x="240" y="139"/>
                  <a:pt x="240" y="139"/>
                  <a:pt x="240" y="139"/>
                </a:cubicBezTo>
                <a:cubicBezTo>
                  <a:pt x="242" y="167"/>
                  <a:pt x="242" y="167"/>
                  <a:pt x="242" y="167"/>
                </a:cubicBezTo>
                <a:cubicBezTo>
                  <a:pt x="203" y="162"/>
                  <a:pt x="203" y="162"/>
                  <a:pt x="203" y="162"/>
                </a:cubicBezTo>
                <a:cubicBezTo>
                  <a:pt x="220" y="143"/>
                  <a:pt x="220" y="143"/>
                  <a:pt x="220" y="143"/>
                </a:cubicBezTo>
                <a:cubicBezTo>
                  <a:pt x="188" y="137"/>
                  <a:pt x="188" y="137"/>
                  <a:pt x="188" y="137"/>
                </a:cubicBezTo>
                <a:cubicBezTo>
                  <a:pt x="149" y="121"/>
                  <a:pt x="149" y="121"/>
                  <a:pt x="149" y="121"/>
                </a:cubicBezTo>
                <a:cubicBezTo>
                  <a:pt x="162" y="139"/>
                  <a:pt x="162" y="139"/>
                  <a:pt x="162" y="139"/>
                </a:cubicBezTo>
                <a:cubicBezTo>
                  <a:pt x="164" y="163"/>
                  <a:pt x="164" y="163"/>
                  <a:pt x="164" y="163"/>
                </a:cubicBezTo>
                <a:cubicBezTo>
                  <a:pt x="164" y="163"/>
                  <a:pt x="149" y="150"/>
                  <a:pt x="141" y="150"/>
                </a:cubicBezTo>
                <a:cubicBezTo>
                  <a:pt x="134" y="150"/>
                  <a:pt x="132" y="134"/>
                  <a:pt x="132" y="134"/>
                </a:cubicBezTo>
                <a:cubicBezTo>
                  <a:pt x="132" y="134"/>
                  <a:pt x="115" y="136"/>
                  <a:pt x="104" y="137"/>
                </a:cubicBezTo>
                <a:cubicBezTo>
                  <a:pt x="93" y="139"/>
                  <a:pt x="110" y="152"/>
                  <a:pt x="110" y="152"/>
                </a:cubicBezTo>
                <a:cubicBezTo>
                  <a:pt x="125" y="152"/>
                  <a:pt x="125" y="152"/>
                  <a:pt x="125" y="152"/>
                </a:cubicBezTo>
                <a:cubicBezTo>
                  <a:pt x="125" y="165"/>
                  <a:pt x="125" y="165"/>
                  <a:pt x="125" y="165"/>
                </a:cubicBezTo>
                <a:cubicBezTo>
                  <a:pt x="147" y="190"/>
                  <a:pt x="147" y="190"/>
                  <a:pt x="147" y="190"/>
                </a:cubicBezTo>
                <a:cubicBezTo>
                  <a:pt x="125" y="178"/>
                  <a:pt x="125" y="178"/>
                  <a:pt x="125" y="178"/>
                </a:cubicBezTo>
                <a:cubicBezTo>
                  <a:pt x="121" y="193"/>
                  <a:pt x="121" y="193"/>
                  <a:pt x="121" y="193"/>
                </a:cubicBezTo>
                <a:cubicBezTo>
                  <a:pt x="110" y="178"/>
                  <a:pt x="110" y="178"/>
                  <a:pt x="110" y="178"/>
                </a:cubicBezTo>
                <a:cubicBezTo>
                  <a:pt x="89" y="178"/>
                  <a:pt x="89" y="178"/>
                  <a:pt x="89" y="178"/>
                </a:cubicBezTo>
                <a:cubicBezTo>
                  <a:pt x="86" y="199"/>
                  <a:pt x="86" y="199"/>
                  <a:pt x="86" y="199"/>
                </a:cubicBezTo>
                <a:cubicBezTo>
                  <a:pt x="86" y="199"/>
                  <a:pt x="76" y="173"/>
                  <a:pt x="60" y="171"/>
                </a:cubicBezTo>
                <a:cubicBezTo>
                  <a:pt x="43" y="169"/>
                  <a:pt x="28" y="221"/>
                  <a:pt x="19" y="238"/>
                </a:cubicBezTo>
                <a:cubicBezTo>
                  <a:pt x="9" y="255"/>
                  <a:pt x="26" y="262"/>
                  <a:pt x="26" y="262"/>
                </a:cubicBezTo>
                <a:cubicBezTo>
                  <a:pt x="0" y="264"/>
                  <a:pt x="0" y="264"/>
                  <a:pt x="0" y="264"/>
                </a:cubicBezTo>
                <a:cubicBezTo>
                  <a:pt x="0" y="264"/>
                  <a:pt x="2" y="286"/>
                  <a:pt x="9" y="299"/>
                </a:cubicBezTo>
                <a:cubicBezTo>
                  <a:pt x="17" y="312"/>
                  <a:pt x="78" y="335"/>
                  <a:pt x="86" y="337"/>
                </a:cubicBezTo>
                <a:cubicBezTo>
                  <a:pt x="93" y="338"/>
                  <a:pt x="110" y="335"/>
                  <a:pt x="110" y="335"/>
                </a:cubicBezTo>
                <a:cubicBezTo>
                  <a:pt x="125" y="351"/>
                  <a:pt x="125" y="351"/>
                  <a:pt x="125" y="351"/>
                </a:cubicBezTo>
                <a:cubicBezTo>
                  <a:pt x="140" y="335"/>
                  <a:pt x="140" y="335"/>
                  <a:pt x="140" y="335"/>
                </a:cubicBezTo>
                <a:cubicBezTo>
                  <a:pt x="141" y="361"/>
                  <a:pt x="141" y="361"/>
                  <a:pt x="141" y="361"/>
                </a:cubicBezTo>
                <a:cubicBezTo>
                  <a:pt x="179" y="361"/>
                  <a:pt x="179" y="361"/>
                  <a:pt x="179" y="361"/>
                </a:cubicBezTo>
                <a:cubicBezTo>
                  <a:pt x="179" y="361"/>
                  <a:pt x="194" y="342"/>
                  <a:pt x="197" y="337"/>
                </a:cubicBezTo>
                <a:cubicBezTo>
                  <a:pt x="201" y="331"/>
                  <a:pt x="229" y="348"/>
                  <a:pt x="229" y="348"/>
                </a:cubicBezTo>
                <a:cubicBezTo>
                  <a:pt x="229" y="348"/>
                  <a:pt x="199" y="368"/>
                  <a:pt x="177" y="374"/>
                </a:cubicBezTo>
                <a:cubicBezTo>
                  <a:pt x="154" y="379"/>
                  <a:pt x="169" y="413"/>
                  <a:pt x="169" y="413"/>
                </a:cubicBezTo>
                <a:cubicBezTo>
                  <a:pt x="169" y="413"/>
                  <a:pt x="162" y="419"/>
                  <a:pt x="153" y="426"/>
                </a:cubicBezTo>
                <a:cubicBezTo>
                  <a:pt x="153" y="431"/>
                  <a:pt x="155" y="435"/>
                  <a:pt x="162" y="433"/>
                </a:cubicBezTo>
                <a:cubicBezTo>
                  <a:pt x="179" y="430"/>
                  <a:pt x="247" y="394"/>
                  <a:pt x="247" y="394"/>
                </a:cubicBezTo>
                <a:cubicBezTo>
                  <a:pt x="247" y="394"/>
                  <a:pt x="279" y="406"/>
                  <a:pt x="288" y="407"/>
                </a:cubicBezTo>
                <a:cubicBezTo>
                  <a:pt x="289" y="407"/>
                  <a:pt x="291" y="406"/>
                  <a:pt x="292" y="406"/>
                </a:cubicBezTo>
                <a:cubicBezTo>
                  <a:pt x="308" y="396"/>
                  <a:pt x="365" y="346"/>
                  <a:pt x="365" y="346"/>
                </a:cubicBezTo>
                <a:cubicBezTo>
                  <a:pt x="365" y="346"/>
                  <a:pt x="385" y="370"/>
                  <a:pt x="402" y="357"/>
                </a:cubicBezTo>
                <a:cubicBezTo>
                  <a:pt x="419" y="344"/>
                  <a:pt x="422" y="318"/>
                  <a:pt x="422" y="318"/>
                </a:cubicBezTo>
                <a:cubicBezTo>
                  <a:pt x="422" y="318"/>
                  <a:pt x="556" y="229"/>
                  <a:pt x="577" y="229"/>
                </a:cubicBezTo>
                <a:cubicBezTo>
                  <a:pt x="597" y="229"/>
                  <a:pt x="668" y="214"/>
                  <a:pt x="668" y="229"/>
                </a:cubicBezTo>
                <a:cubicBezTo>
                  <a:pt x="668" y="244"/>
                  <a:pt x="663" y="266"/>
                  <a:pt x="677" y="264"/>
                </a:cubicBezTo>
                <a:cubicBezTo>
                  <a:pt x="692" y="262"/>
                  <a:pt x="715" y="223"/>
                  <a:pt x="715" y="223"/>
                </a:cubicBezTo>
                <a:cubicBezTo>
                  <a:pt x="715" y="223"/>
                  <a:pt x="875" y="184"/>
                  <a:pt x="880" y="177"/>
                </a:cubicBezTo>
                <a:cubicBezTo>
                  <a:pt x="886" y="169"/>
                  <a:pt x="895" y="201"/>
                  <a:pt x="904" y="201"/>
                </a:cubicBezTo>
                <a:cubicBezTo>
                  <a:pt x="914" y="201"/>
                  <a:pt x="940" y="188"/>
                  <a:pt x="940" y="188"/>
                </a:cubicBezTo>
                <a:cubicBezTo>
                  <a:pt x="940" y="188"/>
                  <a:pt x="986" y="197"/>
                  <a:pt x="999" y="190"/>
                </a:cubicBezTo>
                <a:cubicBezTo>
                  <a:pt x="1012" y="182"/>
                  <a:pt x="1018" y="160"/>
                  <a:pt x="1027" y="160"/>
                </a:cubicBezTo>
                <a:cubicBezTo>
                  <a:pt x="1037" y="160"/>
                  <a:pt x="1076" y="154"/>
                  <a:pt x="1089" y="165"/>
                </a:cubicBezTo>
                <a:cubicBezTo>
                  <a:pt x="1102" y="177"/>
                  <a:pt x="1098" y="191"/>
                  <a:pt x="1105" y="191"/>
                </a:cubicBezTo>
                <a:cubicBezTo>
                  <a:pt x="1113" y="191"/>
                  <a:pt x="1163" y="171"/>
                  <a:pt x="1163" y="171"/>
                </a:cubicBezTo>
                <a:cubicBezTo>
                  <a:pt x="1163" y="171"/>
                  <a:pt x="1159" y="227"/>
                  <a:pt x="1167" y="227"/>
                </a:cubicBezTo>
                <a:cubicBezTo>
                  <a:pt x="1174" y="227"/>
                  <a:pt x="1210" y="193"/>
                  <a:pt x="1232" y="203"/>
                </a:cubicBezTo>
                <a:cubicBezTo>
                  <a:pt x="1245" y="208"/>
                  <a:pt x="1253" y="214"/>
                  <a:pt x="1257" y="218"/>
                </a:cubicBezTo>
                <a:cubicBezTo>
                  <a:pt x="1270" y="217"/>
                  <a:pt x="1279" y="215"/>
                  <a:pt x="1277" y="219"/>
                </a:cubicBezTo>
                <a:cubicBezTo>
                  <a:pt x="1273" y="225"/>
                  <a:pt x="1226" y="262"/>
                  <a:pt x="1234" y="281"/>
                </a:cubicBezTo>
                <a:cubicBezTo>
                  <a:pt x="1241" y="299"/>
                  <a:pt x="1241" y="299"/>
                  <a:pt x="1241" y="299"/>
                </a:cubicBezTo>
                <a:cubicBezTo>
                  <a:pt x="1267" y="314"/>
                  <a:pt x="1267" y="314"/>
                  <a:pt x="1267" y="314"/>
                </a:cubicBezTo>
                <a:cubicBezTo>
                  <a:pt x="1267" y="314"/>
                  <a:pt x="1264" y="351"/>
                  <a:pt x="1269" y="351"/>
                </a:cubicBezTo>
                <a:cubicBezTo>
                  <a:pt x="1275" y="351"/>
                  <a:pt x="1299" y="348"/>
                  <a:pt x="1299" y="348"/>
                </a:cubicBezTo>
                <a:cubicBezTo>
                  <a:pt x="1299" y="348"/>
                  <a:pt x="1299" y="359"/>
                  <a:pt x="1306" y="359"/>
                </a:cubicBezTo>
                <a:cubicBezTo>
                  <a:pt x="1314" y="359"/>
                  <a:pt x="1383" y="307"/>
                  <a:pt x="1411" y="322"/>
                </a:cubicBezTo>
                <a:cubicBezTo>
                  <a:pt x="1439" y="337"/>
                  <a:pt x="1452" y="342"/>
                  <a:pt x="1452" y="342"/>
                </a:cubicBezTo>
                <a:cubicBezTo>
                  <a:pt x="1452" y="342"/>
                  <a:pt x="1440" y="357"/>
                  <a:pt x="1440" y="370"/>
                </a:cubicBezTo>
                <a:cubicBezTo>
                  <a:pt x="1440" y="383"/>
                  <a:pt x="1435" y="418"/>
                  <a:pt x="1426" y="418"/>
                </a:cubicBezTo>
                <a:cubicBezTo>
                  <a:pt x="1421" y="418"/>
                  <a:pt x="1410" y="430"/>
                  <a:pt x="1400" y="442"/>
                </a:cubicBezTo>
                <a:cubicBezTo>
                  <a:pt x="1398" y="434"/>
                  <a:pt x="1398" y="434"/>
                  <a:pt x="1398" y="434"/>
                </a:cubicBezTo>
                <a:cubicBezTo>
                  <a:pt x="1384" y="437"/>
                  <a:pt x="1384" y="437"/>
                  <a:pt x="1384" y="437"/>
                </a:cubicBezTo>
                <a:cubicBezTo>
                  <a:pt x="1391" y="444"/>
                  <a:pt x="1394" y="448"/>
                  <a:pt x="1394" y="448"/>
                </a:cubicBezTo>
                <a:cubicBezTo>
                  <a:pt x="1444" y="452"/>
                  <a:pt x="1444" y="452"/>
                  <a:pt x="1444" y="452"/>
                </a:cubicBezTo>
                <a:cubicBezTo>
                  <a:pt x="1444" y="452"/>
                  <a:pt x="1465" y="424"/>
                  <a:pt x="1465" y="415"/>
                </a:cubicBezTo>
                <a:cubicBezTo>
                  <a:pt x="1465" y="405"/>
                  <a:pt x="1474" y="396"/>
                  <a:pt x="1474" y="385"/>
                </a:cubicBezTo>
                <a:cubicBezTo>
                  <a:pt x="1474" y="374"/>
                  <a:pt x="1532" y="392"/>
                  <a:pt x="1532" y="385"/>
                </a:cubicBezTo>
                <a:cubicBezTo>
                  <a:pt x="1532" y="378"/>
                  <a:pt x="1533" y="325"/>
                  <a:pt x="1533" y="325"/>
                </a:cubicBezTo>
                <a:cubicBezTo>
                  <a:pt x="1533" y="325"/>
                  <a:pt x="1496" y="316"/>
                  <a:pt x="1500" y="311"/>
                </a:cubicBezTo>
                <a:cubicBezTo>
                  <a:pt x="1504" y="305"/>
                  <a:pt x="1533" y="311"/>
                  <a:pt x="1533" y="311"/>
                </a:cubicBezTo>
                <a:close/>
                <a:moveTo>
                  <a:pt x="1150" y="115"/>
                </a:moveTo>
                <a:cubicBezTo>
                  <a:pt x="1167" y="111"/>
                  <a:pt x="1167" y="111"/>
                  <a:pt x="1167" y="111"/>
                </a:cubicBezTo>
                <a:cubicBezTo>
                  <a:pt x="1152" y="83"/>
                  <a:pt x="1152" y="83"/>
                  <a:pt x="1152" y="83"/>
                </a:cubicBezTo>
                <a:cubicBezTo>
                  <a:pt x="1191" y="74"/>
                  <a:pt x="1191" y="74"/>
                  <a:pt x="1191" y="74"/>
                </a:cubicBezTo>
                <a:cubicBezTo>
                  <a:pt x="1158" y="74"/>
                  <a:pt x="1158" y="74"/>
                  <a:pt x="1158" y="74"/>
                </a:cubicBezTo>
                <a:cubicBezTo>
                  <a:pt x="1135" y="50"/>
                  <a:pt x="1135" y="50"/>
                  <a:pt x="1135" y="50"/>
                </a:cubicBezTo>
                <a:cubicBezTo>
                  <a:pt x="1111" y="85"/>
                  <a:pt x="1111" y="85"/>
                  <a:pt x="1111" y="85"/>
                </a:cubicBezTo>
                <a:cubicBezTo>
                  <a:pt x="1078" y="59"/>
                  <a:pt x="1078" y="59"/>
                  <a:pt x="1078" y="59"/>
                </a:cubicBezTo>
                <a:cubicBezTo>
                  <a:pt x="1072" y="48"/>
                  <a:pt x="1072" y="48"/>
                  <a:pt x="1072" y="48"/>
                </a:cubicBezTo>
                <a:cubicBezTo>
                  <a:pt x="1053" y="56"/>
                  <a:pt x="1053" y="56"/>
                  <a:pt x="1053" y="56"/>
                </a:cubicBezTo>
                <a:cubicBezTo>
                  <a:pt x="1096" y="95"/>
                  <a:pt x="1096" y="95"/>
                  <a:pt x="1096" y="95"/>
                </a:cubicBezTo>
                <a:lnTo>
                  <a:pt x="1150" y="115"/>
                </a:lnTo>
                <a:close/>
                <a:moveTo>
                  <a:pt x="1262" y="108"/>
                </a:moveTo>
                <a:cubicBezTo>
                  <a:pt x="1262" y="108"/>
                  <a:pt x="1230" y="95"/>
                  <a:pt x="1219" y="93"/>
                </a:cubicBezTo>
                <a:cubicBezTo>
                  <a:pt x="1208" y="91"/>
                  <a:pt x="1189" y="102"/>
                  <a:pt x="1189" y="102"/>
                </a:cubicBezTo>
                <a:cubicBezTo>
                  <a:pt x="1197" y="126"/>
                  <a:pt x="1262" y="108"/>
                  <a:pt x="1262" y="108"/>
                </a:cubicBezTo>
                <a:close/>
                <a:moveTo>
                  <a:pt x="1305" y="134"/>
                </a:moveTo>
                <a:cubicBezTo>
                  <a:pt x="1325" y="134"/>
                  <a:pt x="1310" y="111"/>
                  <a:pt x="1310" y="111"/>
                </a:cubicBezTo>
                <a:cubicBezTo>
                  <a:pt x="1310" y="111"/>
                  <a:pt x="1280" y="117"/>
                  <a:pt x="1282" y="124"/>
                </a:cubicBezTo>
                <a:cubicBezTo>
                  <a:pt x="1282" y="124"/>
                  <a:pt x="1284" y="134"/>
                  <a:pt x="1305" y="134"/>
                </a:cubicBez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15" name="Freeform 194"/>
          <p:cNvSpPr>
            <a:spLocks noEditPoints="1"/>
          </p:cNvSpPr>
          <p:nvPr/>
        </p:nvSpPr>
        <p:spPr bwMode="auto">
          <a:xfrm>
            <a:off x="1019175" y="2692400"/>
            <a:ext cx="342900" cy="349250"/>
          </a:xfrm>
          <a:custGeom>
            <a:avLst/>
            <a:gdLst>
              <a:gd name="T0" fmla="*/ 75 w 297"/>
              <a:gd name="T1" fmla="*/ 60 h 302"/>
              <a:gd name="T2" fmla="*/ 38 w 297"/>
              <a:gd name="T3" fmla="*/ 19 h 302"/>
              <a:gd name="T4" fmla="*/ 15 w 297"/>
              <a:gd name="T5" fmla="*/ 22 h 302"/>
              <a:gd name="T6" fmla="*/ 0 w 297"/>
              <a:gd name="T7" fmla="*/ 50 h 302"/>
              <a:gd name="T8" fmla="*/ 34 w 297"/>
              <a:gd name="T9" fmla="*/ 52 h 302"/>
              <a:gd name="T10" fmla="*/ 62 w 297"/>
              <a:gd name="T11" fmla="*/ 73 h 302"/>
              <a:gd name="T12" fmla="*/ 75 w 297"/>
              <a:gd name="T13" fmla="*/ 60 h 302"/>
              <a:gd name="T14" fmla="*/ 101 w 297"/>
              <a:gd name="T15" fmla="*/ 37 h 302"/>
              <a:gd name="T16" fmla="*/ 101 w 297"/>
              <a:gd name="T17" fmla="*/ 15 h 302"/>
              <a:gd name="T18" fmla="*/ 75 w 297"/>
              <a:gd name="T19" fmla="*/ 0 h 302"/>
              <a:gd name="T20" fmla="*/ 80 w 297"/>
              <a:gd name="T21" fmla="*/ 34 h 302"/>
              <a:gd name="T22" fmla="*/ 101 w 297"/>
              <a:gd name="T23" fmla="*/ 37 h 302"/>
              <a:gd name="T24" fmla="*/ 259 w 297"/>
              <a:gd name="T25" fmla="*/ 169 h 302"/>
              <a:gd name="T26" fmla="*/ 239 w 297"/>
              <a:gd name="T27" fmla="*/ 114 h 302"/>
              <a:gd name="T28" fmla="*/ 211 w 297"/>
              <a:gd name="T29" fmla="*/ 104 h 302"/>
              <a:gd name="T30" fmla="*/ 211 w 297"/>
              <a:gd name="T31" fmla="*/ 88 h 302"/>
              <a:gd name="T32" fmla="*/ 177 w 297"/>
              <a:gd name="T33" fmla="*/ 69 h 302"/>
              <a:gd name="T34" fmla="*/ 136 w 297"/>
              <a:gd name="T35" fmla="*/ 37 h 302"/>
              <a:gd name="T36" fmla="*/ 116 w 297"/>
              <a:gd name="T37" fmla="*/ 47 h 302"/>
              <a:gd name="T38" fmla="*/ 116 w 297"/>
              <a:gd name="T39" fmla="*/ 69 h 302"/>
              <a:gd name="T40" fmla="*/ 95 w 297"/>
              <a:gd name="T41" fmla="*/ 69 h 302"/>
              <a:gd name="T42" fmla="*/ 88 w 297"/>
              <a:gd name="T43" fmla="*/ 91 h 302"/>
              <a:gd name="T44" fmla="*/ 80 w 297"/>
              <a:gd name="T45" fmla="*/ 127 h 302"/>
              <a:gd name="T46" fmla="*/ 62 w 297"/>
              <a:gd name="T47" fmla="*/ 153 h 302"/>
              <a:gd name="T48" fmla="*/ 65 w 297"/>
              <a:gd name="T49" fmla="*/ 155 h 302"/>
              <a:gd name="T50" fmla="*/ 110 w 297"/>
              <a:gd name="T51" fmla="*/ 210 h 302"/>
              <a:gd name="T52" fmla="*/ 99 w 297"/>
              <a:gd name="T53" fmla="*/ 262 h 302"/>
              <a:gd name="T54" fmla="*/ 133 w 297"/>
              <a:gd name="T55" fmla="*/ 302 h 302"/>
              <a:gd name="T56" fmla="*/ 137 w 297"/>
              <a:gd name="T57" fmla="*/ 295 h 302"/>
              <a:gd name="T58" fmla="*/ 176 w 297"/>
              <a:gd name="T59" fmla="*/ 284 h 302"/>
              <a:gd name="T60" fmla="*/ 179 w 297"/>
              <a:gd name="T61" fmla="*/ 275 h 302"/>
              <a:gd name="T62" fmla="*/ 187 w 297"/>
              <a:gd name="T63" fmla="*/ 259 h 302"/>
              <a:gd name="T64" fmla="*/ 233 w 297"/>
              <a:gd name="T65" fmla="*/ 221 h 302"/>
              <a:gd name="T66" fmla="*/ 280 w 297"/>
              <a:gd name="T67" fmla="*/ 215 h 302"/>
              <a:gd name="T68" fmla="*/ 297 w 297"/>
              <a:gd name="T69" fmla="*/ 202 h 302"/>
              <a:gd name="T70" fmla="*/ 259 w 297"/>
              <a:gd name="T71" fmla="*/ 169 h 302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97"/>
              <a:gd name="T109" fmla="*/ 0 h 302"/>
              <a:gd name="T110" fmla="*/ 297 w 297"/>
              <a:gd name="T111" fmla="*/ 302 h 302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97" h="302">
                <a:moveTo>
                  <a:pt x="75" y="60"/>
                </a:moveTo>
                <a:cubicBezTo>
                  <a:pt x="67" y="47"/>
                  <a:pt x="43" y="19"/>
                  <a:pt x="38" y="19"/>
                </a:cubicBezTo>
                <a:cubicBezTo>
                  <a:pt x="32" y="19"/>
                  <a:pt x="15" y="22"/>
                  <a:pt x="15" y="22"/>
                </a:cubicBezTo>
                <a:cubicBezTo>
                  <a:pt x="0" y="50"/>
                  <a:pt x="0" y="50"/>
                  <a:pt x="0" y="50"/>
                </a:cubicBezTo>
                <a:cubicBezTo>
                  <a:pt x="13" y="50"/>
                  <a:pt x="34" y="52"/>
                  <a:pt x="34" y="52"/>
                </a:cubicBezTo>
                <a:cubicBezTo>
                  <a:pt x="62" y="73"/>
                  <a:pt x="62" y="73"/>
                  <a:pt x="62" y="73"/>
                </a:cubicBezTo>
                <a:cubicBezTo>
                  <a:pt x="62" y="73"/>
                  <a:pt x="82" y="73"/>
                  <a:pt x="75" y="60"/>
                </a:cubicBezTo>
                <a:close/>
                <a:moveTo>
                  <a:pt x="101" y="37"/>
                </a:moveTo>
                <a:cubicBezTo>
                  <a:pt x="101" y="15"/>
                  <a:pt x="101" y="15"/>
                  <a:pt x="101" y="15"/>
                </a:cubicBezTo>
                <a:cubicBezTo>
                  <a:pt x="75" y="0"/>
                  <a:pt x="75" y="0"/>
                  <a:pt x="75" y="0"/>
                </a:cubicBezTo>
                <a:cubicBezTo>
                  <a:pt x="80" y="34"/>
                  <a:pt x="80" y="34"/>
                  <a:pt x="80" y="34"/>
                </a:cubicBezTo>
                <a:lnTo>
                  <a:pt x="101" y="37"/>
                </a:lnTo>
                <a:close/>
                <a:moveTo>
                  <a:pt x="259" y="169"/>
                </a:moveTo>
                <a:cubicBezTo>
                  <a:pt x="259" y="169"/>
                  <a:pt x="255" y="123"/>
                  <a:pt x="239" y="114"/>
                </a:cubicBezTo>
                <a:cubicBezTo>
                  <a:pt x="222" y="104"/>
                  <a:pt x="211" y="104"/>
                  <a:pt x="211" y="104"/>
                </a:cubicBezTo>
                <a:cubicBezTo>
                  <a:pt x="211" y="88"/>
                  <a:pt x="211" y="88"/>
                  <a:pt x="211" y="88"/>
                </a:cubicBezTo>
                <a:cubicBezTo>
                  <a:pt x="177" y="69"/>
                  <a:pt x="177" y="69"/>
                  <a:pt x="177" y="69"/>
                </a:cubicBezTo>
                <a:cubicBezTo>
                  <a:pt x="136" y="37"/>
                  <a:pt x="136" y="37"/>
                  <a:pt x="136" y="37"/>
                </a:cubicBezTo>
                <a:cubicBezTo>
                  <a:pt x="116" y="47"/>
                  <a:pt x="116" y="47"/>
                  <a:pt x="116" y="47"/>
                </a:cubicBezTo>
                <a:cubicBezTo>
                  <a:pt x="116" y="69"/>
                  <a:pt x="116" y="69"/>
                  <a:pt x="116" y="69"/>
                </a:cubicBezTo>
                <a:cubicBezTo>
                  <a:pt x="95" y="69"/>
                  <a:pt x="95" y="69"/>
                  <a:pt x="95" y="69"/>
                </a:cubicBezTo>
                <a:cubicBezTo>
                  <a:pt x="88" y="91"/>
                  <a:pt x="88" y="91"/>
                  <a:pt x="88" y="91"/>
                </a:cubicBezTo>
                <a:cubicBezTo>
                  <a:pt x="88" y="91"/>
                  <a:pt x="88" y="115"/>
                  <a:pt x="80" y="127"/>
                </a:cubicBezTo>
                <a:cubicBezTo>
                  <a:pt x="73" y="138"/>
                  <a:pt x="62" y="153"/>
                  <a:pt x="62" y="153"/>
                </a:cubicBezTo>
                <a:cubicBezTo>
                  <a:pt x="62" y="153"/>
                  <a:pt x="63" y="154"/>
                  <a:pt x="65" y="155"/>
                </a:cubicBezTo>
                <a:cubicBezTo>
                  <a:pt x="77" y="164"/>
                  <a:pt x="115" y="193"/>
                  <a:pt x="110" y="210"/>
                </a:cubicBezTo>
                <a:cubicBezTo>
                  <a:pt x="105" y="231"/>
                  <a:pt x="99" y="262"/>
                  <a:pt x="99" y="262"/>
                </a:cubicBezTo>
                <a:cubicBezTo>
                  <a:pt x="133" y="302"/>
                  <a:pt x="133" y="302"/>
                  <a:pt x="133" y="302"/>
                </a:cubicBezTo>
                <a:cubicBezTo>
                  <a:pt x="135" y="298"/>
                  <a:pt x="137" y="295"/>
                  <a:pt x="137" y="295"/>
                </a:cubicBezTo>
                <a:cubicBezTo>
                  <a:pt x="137" y="295"/>
                  <a:pt x="174" y="291"/>
                  <a:pt x="176" y="284"/>
                </a:cubicBezTo>
                <a:cubicBezTo>
                  <a:pt x="177" y="282"/>
                  <a:pt x="178" y="278"/>
                  <a:pt x="179" y="275"/>
                </a:cubicBezTo>
                <a:cubicBezTo>
                  <a:pt x="183" y="268"/>
                  <a:pt x="187" y="260"/>
                  <a:pt x="187" y="259"/>
                </a:cubicBezTo>
                <a:cubicBezTo>
                  <a:pt x="187" y="257"/>
                  <a:pt x="233" y="221"/>
                  <a:pt x="233" y="221"/>
                </a:cubicBezTo>
                <a:cubicBezTo>
                  <a:pt x="233" y="221"/>
                  <a:pt x="276" y="220"/>
                  <a:pt x="280" y="215"/>
                </a:cubicBezTo>
                <a:cubicBezTo>
                  <a:pt x="297" y="202"/>
                  <a:pt x="297" y="202"/>
                  <a:pt x="297" y="202"/>
                </a:cubicBezTo>
                <a:lnTo>
                  <a:pt x="259" y="169"/>
                </a:ln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16" name="Freeform 195"/>
          <p:cNvSpPr>
            <a:spLocks/>
          </p:cNvSpPr>
          <p:nvPr/>
        </p:nvSpPr>
        <p:spPr bwMode="auto">
          <a:xfrm>
            <a:off x="803275" y="2751138"/>
            <a:ext cx="368300" cy="428625"/>
          </a:xfrm>
          <a:custGeom>
            <a:avLst/>
            <a:gdLst>
              <a:gd name="T0" fmla="*/ 319 w 319"/>
              <a:gd name="T1" fmla="*/ 252 h 372"/>
              <a:gd name="T2" fmla="*/ 285 w 319"/>
              <a:gd name="T3" fmla="*/ 212 h 372"/>
              <a:gd name="T4" fmla="*/ 296 w 319"/>
              <a:gd name="T5" fmla="*/ 160 h 372"/>
              <a:gd name="T6" fmla="*/ 251 w 319"/>
              <a:gd name="T7" fmla="*/ 105 h 372"/>
              <a:gd name="T8" fmla="*/ 237 w 319"/>
              <a:gd name="T9" fmla="*/ 99 h 372"/>
              <a:gd name="T10" fmla="*/ 194 w 319"/>
              <a:gd name="T11" fmla="*/ 149 h 372"/>
              <a:gd name="T12" fmla="*/ 147 w 319"/>
              <a:gd name="T13" fmla="*/ 112 h 372"/>
              <a:gd name="T14" fmla="*/ 171 w 319"/>
              <a:gd name="T15" fmla="*/ 75 h 372"/>
              <a:gd name="T16" fmla="*/ 173 w 319"/>
              <a:gd name="T17" fmla="*/ 34 h 372"/>
              <a:gd name="T18" fmla="*/ 127 w 319"/>
              <a:gd name="T19" fmla="*/ 6 h 372"/>
              <a:gd name="T20" fmla="*/ 80 w 319"/>
              <a:gd name="T21" fmla="*/ 17 h 372"/>
              <a:gd name="T22" fmla="*/ 56 w 319"/>
              <a:gd name="T23" fmla="*/ 17 h 372"/>
              <a:gd name="T24" fmla="*/ 0 w 319"/>
              <a:gd name="T25" fmla="*/ 54 h 372"/>
              <a:gd name="T26" fmla="*/ 71 w 319"/>
              <a:gd name="T27" fmla="*/ 108 h 372"/>
              <a:gd name="T28" fmla="*/ 125 w 319"/>
              <a:gd name="T29" fmla="*/ 201 h 372"/>
              <a:gd name="T30" fmla="*/ 149 w 319"/>
              <a:gd name="T31" fmla="*/ 201 h 372"/>
              <a:gd name="T32" fmla="*/ 130 w 319"/>
              <a:gd name="T33" fmla="*/ 222 h 372"/>
              <a:gd name="T34" fmla="*/ 151 w 319"/>
              <a:gd name="T35" fmla="*/ 265 h 372"/>
              <a:gd name="T36" fmla="*/ 143 w 319"/>
              <a:gd name="T37" fmla="*/ 322 h 372"/>
              <a:gd name="T38" fmla="*/ 150 w 319"/>
              <a:gd name="T39" fmla="*/ 326 h 372"/>
              <a:gd name="T40" fmla="*/ 183 w 319"/>
              <a:gd name="T41" fmla="*/ 341 h 372"/>
              <a:gd name="T42" fmla="*/ 196 w 319"/>
              <a:gd name="T43" fmla="*/ 363 h 372"/>
              <a:gd name="T44" fmla="*/ 241 w 319"/>
              <a:gd name="T45" fmla="*/ 372 h 372"/>
              <a:gd name="T46" fmla="*/ 245 w 319"/>
              <a:gd name="T47" fmla="*/ 361 h 372"/>
              <a:gd name="T48" fmla="*/ 270 w 319"/>
              <a:gd name="T49" fmla="*/ 315 h 372"/>
              <a:gd name="T50" fmla="*/ 270 w 319"/>
              <a:gd name="T51" fmla="*/ 313 h 372"/>
              <a:gd name="T52" fmla="*/ 270 w 319"/>
              <a:gd name="T53" fmla="*/ 313 h 372"/>
              <a:gd name="T54" fmla="*/ 271 w 319"/>
              <a:gd name="T55" fmla="*/ 311 h 372"/>
              <a:gd name="T56" fmla="*/ 271 w 319"/>
              <a:gd name="T57" fmla="*/ 311 h 372"/>
              <a:gd name="T58" fmla="*/ 272 w 319"/>
              <a:gd name="T59" fmla="*/ 309 h 372"/>
              <a:gd name="T60" fmla="*/ 273 w 319"/>
              <a:gd name="T61" fmla="*/ 309 h 372"/>
              <a:gd name="T62" fmla="*/ 275 w 319"/>
              <a:gd name="T63" fmla="*/ 307 h 372"/>
              <a:gd name="T64" fmla="*/ 275 w 319"/>
              <a:gd name="T65" fmla="*/ 307 h 372"/>
              <a:gd name="T66" fmla="*/ 277 w 319"/>
              <a:gd name="T67" fmla="*/ 304 h 372"/>
              <a:gd name="T68" fmla="*/ 277 w 319"/>
              <a:gd name="T69" fmla="*/ 304 h 372"/>
              <a:gd name="T70" fmla="*/ 280 w 319"/>
              <a:gd name="T71" fmla="*/ 301 h 372"/>
              <a:gd name="T72" fmla="*/ 281 w 319"/>
              <a:gd name="T73" fmla="*/ 301 h 372"/>
              <a:gd name="T74" fmla="*/ 283 w 319"/>
              <a:gd name="T75" fmla="*/ 299 h 372"/>
              <a:gd name="T76" fmla="*/ 287 w 319"/>
              <a:gd name="T77" fmla="*/ 295 h 372"/>
              <a:gd name="T78" fmla="*/ 287 w 319"/>
              <a:gd name="T79" fmla="*/ 295 h 372"/>
              <a:gd name="T80" fmla="*/ 295 w 319"/>
              <a:gd name="T81" fmla="*/ 287 h 372"/>
              <a:gd name="T82" fmla="*/ 319 w 319"/>
              <a:gd name="T83" fmla="*/ 252 h 37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319"/>
              <a:gd name="T127" fmla="*/ 0 h 372"/>
              <a:gd name="T128" fmla="*/ 319 w 319"/>
              <a:gd name="T129" fmla="*/ 372 h 37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319" h="372">
                <a:moveTo>
                  <a:pt x="319" y="252"/>
                </a:moveTo>
                <a:cubicBezTo>
                  <a:pt x="285" y="212"/>
                  <a:pt x="285" y="212"/>
                  <a:pt x="285" y="212"/>
                </a:cubicBezTo>
                <a:cubicBezTo>
                  <a:pt x="285" y="212"/>
                  <a:pt x="291" y="181"/>
                  <a:pt x="296" y="160"/>
                </a:cubicBezTo>
                <a:cubicBezTo>
                  <a:pt x="301" y="143"/>
                  <a:pt x="263" y="114"/>
                  <a:pt x="251" y="105"/>
                </a:cubicBezTo>
                <a:cubicBezTo>
                  <a:pt x="242" y="101"/>
                  <a:pt x="237" y="99"/>
                  <a:pt x="237" y="99"/>
                </a:cubicBezTo>
                <a:cubicBezTo>
                  <a:pt x="237" y="99"/>
                  <a:pt x="209" y="149"/>
                  <a:pt x="194" y="149"/>
                </a:cubicBezTo>
                <a:cubicBezTo>
                  <a:pt x="179" y="149"/>
                  <a:pt x="145" y="125"/>
                  <a:pt x="147" y="112"/>
                </a:cubicBezTo>
                <a:cubicBezTo>
                  <a:pt x="149" y="99"/>
                  <a:pt x="171" y="75"/>
                  <a:pt x="171" y="75"/>
                </a:cubicBezTo>
                <a:cubicBezTo>
                  <a:pt x="171" y="75"/>
                  <a:pt x="173" y="41"/>
                  <a:pt x="173" y="34"/>
                </a:cubicBezTo>
                <a:cubicBezTo>
                  <a:pt x="173" y="26"/>
                  <a:pt x="143" y="0"/>
                  <a:pt x="127" y="6"/>
                </a:cubicBezTo>
                <a:cubicBezTo>
                  <a:pt x="110" y="11"/>
                  <a:pt x="104" y="17"/>
                  <a:pt x="80" y="17"/>
                </a:cubicBezTo>
                <a:cubicBezTo>
                  <a:pt x="56" y="17"/>
                  <a:pt x="56" y="17"/>
                  <a:pt x="56" y="17"/>
                </a:cubicBezTo>
                <a:cubicBezTo>
                  <a:pt x="0" y="54"/>
                  <a:pt x="0" y="54"/>
                  <a:pt x="0" y="54"/>
                </a:cubicBezTo>
                <a:cubicBezTo>
                  <a:pt x="0" y="54"/>
                  <a:pt x="63" y="90"/>
                  <a:pt x="71" y="108"/>
                </a:cubicBezTo>
                <a:cubicBezTo>
                  <a:pt x="78" y="127"/>
                  <a:pt x="125" y="201"/>
                  <a:pt x="125" y="201"/>
                </a:cubicBezTo>
                <a:cubicBezTo>
                  <a:pt x="149" y="201"/>
                  <a:pt x="149" y="201"/>
                  <a:pt x="149" y="201"/>
                </a:cubicBezTo>
                <a:cubicBezTo>
                  <a:pt x="130" y="222"/>
                  <a:pt x="130" y="222"/>
                  <a:pt x="130" y="222"/>
                </a:cubicBezTo>
                <a:cubicBezTo>
                  <a:pt x="151" y="265"/>
                  <a:pt x="151" y="265"/>
                  <a:pt x="151" y="265"/>
                </a:cubicBezTo>
                <a:cubicBezTo>
                  <a:pt x="143" y="322"/>
                  <a:pt x="143" y="322"/>
                  <a:pt x="143" y="322"/>
                </a:cubicBezTo>
                <a:cubicBezTo>
                  <a:pt x="150" y="326"/>
                  <a:pt x="150" y="326"/>
                  <a:pt x="150" y="326"/>
                </a:cubicBezTo>
                <a:cubicBezTo>
                  <a:pt x="183" y="341"/>
                  <a:pt x="183" y="341"/>
                  <a:pt x="183" y="341"/>
                </a:cubicBezTo>
                <a:cubicBezTo>
                  <a:pt x="196" y="363"/>
                  <a:pt x="196" y="363"/>
                  <a:pt x="196" y="363"/>
                </a:cubicBezTo>
                <a:cubicBezTo>
                  <a:pt x="196" y="363"/>
                  <a:pt x="219" y="368"/>
                  <a:pt x="241" y="372"/>
                </a:cubicBezTo>
                <a:cubicBezTo>
                  <a:pt x="241" y="367"/>
                  <a:pt x="243" y="363"/>
                  <a:pt x="245" y="361"/>
                </a:cubicBezTo>
                <a:cubicBezTo>
                  <a:pt x="251" y="353"/>
                  <a:pt x="272" y="320"/>
                  <a:pt x="270" y="315"/>
                </a:cubicBezTo>
                <a:cubicBezTo>
                  <a:pt x="270" y="314"/>
                  <a:pt x="270" y="314"/>
                  <a:pt x="270" y="313"/>
                </a:cubicBezTo>
                <a:cubicBezTo>
                  <a:pt x="270" y="313"/>
                  <a:pt x="270" y="313"/>
                  <a:pt x="270" y="313"/>
                </a:cubicBezTo>
                <a:cubicBezTo>
                  <a:pt x="270" y="313"/>
                  <a:pt x="271" y="312"/>
                  <a:pt x="271" y="311"/>
                </a:cubicBezTo>
                <a:cubicBezTo>
                  <a:pt x="271" y="311"/>
                  <a:pt x="271" y="311"/>
                  <a:pt x="271" y="311"/>
                </a:cubicBezTo>
                <a:cubicBezTo>
                  <a:pt x="271" y="311"/>
                  <a:pt x="272" y="310"/>
                  <a:pt x="272" y="309"/>
                </a:cubicBezTo>
                <a:cubicBezTo>
                  <a:pt x="272" y="309"/>
                  <a:pt x="273" y="309"/>
                  <a:pt x="273" y="309"/>
                </a:cubicBezTo>
                <a:cubicBezTo>
                  <a:pt x="273" y="308"/>
                  <a:pt x="274" y="308"/>
                  <a:pt x="275" y="307"/>
                </a:cubicBezTo>
                <a:cubicBezTo>
                  <a:pt x="275" y="307"/>
                  <a:pt x="275" y="307"/>
                  <a:pt x="275" y="307"/>
                </a:cubicBezTo>
                <a:cubicBezTo>
                  <a:pt x="276" y="306"/>
                  <a:pt x="276" y="305"/>
                  <a:pt x="277" y="304"/>
                </a:cubicBezTo>
                <a:cubicBezTo>
                  <a:pt x="277" y="304"/>
                  <a:pt x="277" y="304"/>
                  <a:pt x="277" y="304"/>
                </a:cubicBezTo>
                <a:cubicBezTo>
                  <a:pt x="278" y="303"/>
                  <a:pt x="279" y="302"/>
                  <a:pt x="280" y="301"/>
                </a:cubicBezTo>
                <a:cubicBezTo>
                  <a:pt x="280" y="301"/>
                  <a:pt x="281" y="301"/>
                  <a:pt x="281" y="301"/>
                </a:cubicBezTo>
                <a:cubicBezTo>
                  <a:pt x="281" y="300"/>
                  <a:pt x="282" y="299"/>
                  <a:pt x="283" y="299"/>
                </a:cubicBezTo>
                <a:cubicBezTo>
                  <a:pt x="284" y="297"/>
                  <a:pt x="285" y="296"/>
                  <a:pt x="287" y="295"/>
                </a:cubicBezTo>
                <a:cubicBezTo>
                  <a:pt x="287" y="295"/>
                  <a:pt x="287" y="295"/>
                  <a:pt x="287" y="295"/>
                </a:cubicBezTo>
                <a:cubicBezTo>
                  <a:pt x="290" y="292"/>
                  <a:pt x="292" y="290"/>
                  <a:pt x="295" y="287"/>
                </a:cubicBezTo>
                <a:cubicBezTo>
                  <a:pt x="303" y="279"/>
                  <a:pt x="313" y="262"/>
                  <a:pt x="319" y="252"/>
                </a:cubicBez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17" name="Freeform 196"/>
          <p:cNvSpPr>
            <a:spLocks/>
          </p:cNvSpPr>
          <p:nvPr/>
        </p:nvSpPr>
        <p:spPr bwMode="auto">
          <a:xfrm>
            <a:off x="704850" y="2813050"/>
            <a:ext cx="273050" cy="368300"/>
          </a:xfrm>
          <a:custGeom>
            <a:avLst/>
            <a:gdLst>
              <a:gd name="T0" fmla="*/ 233 w 236"/>
              <a:gd name="T1" fmla="*/ 230 h 319"/>
              <a:gd name="T2" fmla="*/ 236 w 236"/>
              <a:gd name="T3" fmla="*/ 211 h 319"/>
              <a:gd name="T4" fmla="*/ 215 w 236"/>
              <a:gd name="T5" fmla="*/ 168 h 319"/>
              <a:gd name="T6" fmla="*/ 234 w 236"/>
              <a:gd name="T7" fmla="*/ 147 h 319"/>
              <a:gd name="T8" fmla="*/ 210 w 236"/>
              <a:gd name="T9" fmla="*/ 147 h 319"/>
              <a:gd name="T10" fmla="*/ 156 w 236"/>
              <a:gd name="T11" fmla="*/ 54 h 319"/>
              <a:gd name="T12" fmla="*/ 85 w 236"/>
              <a:gd name="T13" fmla="*/ 0 h 319"/>
              <a:gd name="T14" fmla="*/ 31 w 236"/>
              <a:gd name="T15" fmla="*/ 60 h 319"/>
              <a:gd name="T16" fmla="*/ 30 w 236"/>
              <a:gd name="T17" fmla="*/ 61 h 319"/>
              <a:gd name="T18" fmla="*/ 37 w 236"/>
              <a:gd name="T19" fmla="*/ 74 h 319"/>
              <a:gd name="T20" fmla="*/ 31 w 236"/>
              <a:gd name="T21" fmla="*/ 105 h 319"/>
              <a:gd name="T22" fmla="*/ 52 w 236"/>
              <a:gd name="T23" fmla="*/ 152 h 319"/>
              <a:gd name="T24" fmla="*/ 13 w 236"/>
              <a:gd name="T25" fmla="*/ 169 h 319"/>
              <a:gd name="T26" fmla="*/ 14 w 236"/>
              <a:gd name="T27" fmla="*/ 220 h 319"/>
              <a:gd name="T28" fmla="*/ 0 w 236"/>
              <a:gd name="T29" fmla="*/ 242 h 319"/>
              <a:gd name="T30" fmla="*/ 0 w 236"/>
              <a:gd name="T31" fmla="*/ 244 h 319"/>
              <a:gd name="T32" fmla="*/ 18 w 236"/>
              <a:gd name="T33" fmla="*/ 278 h 319"/>
              <a:gd name="T34" fmla="*/ 89 w 236"/>
              <a:gd name="T35" fmla="*/ 309 h 319"/>
              <a:gd name="T36" fmla="*/ 141 w 236"/>
              <a:gd name="T37" fmla="*/ 291 h 319"/>
              <a:gd name="T38" fmla="*/ 173 w 236"/>
              <a:gd name="T39" fmla="*/ 294 h 319"/>
              <a:gd name="T40" fmla="*/ 204 w 236"/>
              <a:gd name="T41" fmla="*/ 305 h 319"/>
              <a:gd name="T42" fmla="*/ 235 w 236"/>
              <a:gd name="T43" fmla="*/ 272 h 319"/>
              <a:gd name="T44" fmla="*/ 228 w 236"/>
              <a:gd name="T45" fmla="*/ 268 h 319"/>
              <a:gd name="T46" fmla="*/ 233 w 236"/>
              <a:gd name="T47" fmla="*/ 230 h 31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36"/>
              <a:gd name="T73" fmla="*/ 0 h 319"/>
              <a:gd name="T74" fmla="*/ 236 w 236"/>
              <a:gd name="T75" fmla="*/ 319 h 319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36" h="319">
                <a:moveTo>
                  <a:pt x="233" y="230"/>
                </a:moveTo>
                <a:cubicBezTo>
                  <a:pt x="236" y="211"/>
                  <a:pt x="236" y="211"/>
                  <a:pt x="236" y="211"/>
                </a:cubicBezTo>
                <a:cubicBezTo>
                  <a:pt x="215" y="168"/>
                  <a:pt x="215" y="168"/>
                  <a:pt x="215" y="168"/>
                </a:cubicBezTo>
                <a:cubicBezTo>
                  <a:pt x="234" y="147"/>
                  <a:pt x="234" y="147"/>
                  <a:pt x="234" y="147"/>
                </a:cubicBezTo>
                <a:cubicBezTo>
                  <a:pt x="210" y="147"/>
                  <a:pt x="210" y="147"/>
                  <a:pt x="210" y="147"/>
                </a:cubicBezTo>
                <a:cubicBezTo>
                  <a:pt x="210" y="147"/>
                  <a:pt x="163" y="73"/>
                  <a:pt x="156" y="54"/>
                </a:cubicBezTo>
                <a:cubicBezTo>
                  <a:pt x="148" y="36"/>
                  <a:pt x="85" y="0"/>
                  <a:pt x="85" y="0"/>
                </a:cubicBezTo>
                <a:cubicBezTo>
                  <a:pt x="31" y="60"/>
                  <a:pt x="31" y="60"/>
                  <a:pt x="31" y="60"/>
                </a:cubicBezTo>
                <a:cubicBezTo>
                  <a:pt x="31" y="60"/>
                  <a:pt x="31" y="60"/>
                  <a:pt x="30" y="61"/>
                </a:cubicBezTo>
                <a:cubicBezTo>
                  <a:pt x="34" y="66"/>
                  <a:pt x="37" y="71"/>
                  <a:pt x="37" y="74"/>
                </a:cubicBezTo>
                <a:cubicBezTo>
                  <a:pt x="37" y="81"/>
                  <a:pt x="25" y="100"/>
                  <a:pt x="31" y="105"/>
                </a:cubicBezTo>
                <a:cubicBezTo>
                  <a:pt x="36" y="109"/>
                  <a:pt x="52" y="152"/>
                  <a:pt x="52" y="152"/>
                </a:cubicBezTo>
                <a:cubicBezTo>
                  <a:pt x="13" y="169"/>
                  <a:pt x="13" y="169"/>
                  <a:pt x="13" y="169"/>
                </a:cubicBezTo>
                <a:cubicBezTo>
                  <a:pt x="14" y="220"/>
                  <a:pt x="14" y="220"/>
                  <a:pt x="14" y="220"/>
                </a:cubicBezTo>
                <a:cubicBezTo>
                  <a:pt x="0" y="242"/>
                  <a:pt x="0" y="242"/>
                  <a:pt x="0" y="242"/>
                </a:cubicBezTo>
                <a:cubicBezTo>
                  <a:pt x="0" y="244"/>
                  <a:pt x="0" y="244"/>
                  <a:pt x="0" y="244"/>
                </a:cubicBezTo>
                <a:cubicBezTo>
                  <a:pt x="18" y="278"/>
                  <a:pt x="18" y="278"/>
                  <a:pt x="18" y="278"/>
                </a:cubicBezTo>
                <a:cubicBezTo>
                  <a:pt x="18" y="278"/>
                  <a:pt x="89" y="300"/>
                  <a:pt x="89" y="309"/>
                </a:cubicBezTo>
                <a:cubicBezTo>
                  <a:pt x="89" y="319"/>
                  <a:pt x="141" y="291"/>
                  <a:pt x="141" y="291"/>
                </a:cubicBezTo>
                <a:cubicBezTo>
                  <a:pt x="173" y="294"/>
                  <a:pt x="173" y="294"/>
                  <a:pt x="173" y="294"/>
                </a:cubicBezTo>
                <a:cubicBezTo>
                  <a:pt x="204" y="305"/>
                  <a:pt x="204" y="305"/>
                  <a:pt x="204" y="305"/>
                </a:cubicBezTo>
                <a:cubicBezTo>
                  <a:pt x="235" y="272"/>
                  <a:pt x="235" y="272"/>
                  <a:pt x="235" y="272"/>
                </a:cubicBezTo>
                <a:cubicBezTo>
                  <a:pt x="228" y="268"/>
                  <a:pt x="228" y="268"/>
                  <a:pt x="228" y="268"/>
                </a:cubicBezTo>
                <a:lnTo>
                  <a:pt x="233" y="230"/>
                </a:ln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18" name="Freeform 197"/>
          <p:cNvSpPr>
            <a:spLocks/>
          </p:cNvSpPr>
          <p:nvPr/>
        </p:nvSpPr>
        <p:spPr bwMode="auto">
          <a:xfrm>
            <a:off x="484188" y="3095625"/>
            <a:ext cx="669925" cy="550863"/>
          </a:xfrm>
          <a:custGeom>
            <a:avLst/>
            <a:gdLst>
              <a:gd name="T0" fmla="*/ 567 w 580"/>
              <a:gd name="T1" fmla="*/ 179 h 478"/>
              <a:gd name="T2" fmla="*/ 524 w 580"/>
              <a:gd name="T3" fmla="*/ 150 h 478"/>
              <a:gd name="T4" fmla="*/ 542 w 580"/>
              <a:gd name="T5" fmla="*/ 121 h 478"/>
              <a:gd name="T6" fmla="*/ 517 w 580"/>
              <a:gd name="T7" fmla="*/ 95 h 478"/>
              <a:gd name="T8" fmla="*/ 518 w 580"/>
              <a:gd name="T9" fmla="*/ 74 h 478"/>
              <a:gd name="T10" fmla="*/ 473 w 580"/>
              <a:gd name="T11" fmla="*/ 65 h 478"/>
              <a:gd name="T12" fmla="*/ 460 w 580"/>
              <a:gd name="T13" fmla="*/ 43 h 478"/>
              <a:gd name="T14" fmla="*/ 427 w 580"/>
              <a:gd name="T15" fmla="*/ 28 h 478"/>
              <a:gd name="T16" fmla="*/ 396 w 580"/>
              <a:gd name="T17" fmla="*/ 61 h 478"/>
              <a:gd name="T18" fmla="*/ 365 w 580"/>
              <a:gd name="T19" fmla="*/ 50 h 478"/>
              <a:gd name="T20" fmla="*/ 333 w 580"/>
              <a:gd name="T21" fmla="*/ 47 h 478"/>
              <a:gd name="T22" fmla="*/ 281 w 580"/>
              <a:gd name="T23" fmla="*/ 65 h 478"/>
              <a:gd name="T24" fmla="*/ 220 w 580"/>
              <a:gd name="T25" fmla="*/ 37 h 478"/>
              <a:gd name="T26" fmla="*/ 210 w 580"/>
              <a:gd name="T27" fmla="*/ 34 h 478"/>
              <a:gd name="T28" fmla="*/ 192 w 580"/>
              <a:gd name="T29" fmla="*/ 0 h 478"/>
              <a:gd name="T30" fmla="*/ 186 w 580"/>
              <a:gd name="T31" fmla="*/ 0 h 478"/>
              <a:gd name="T32" fmla="*/ 104 w 580"/>
              <a:gd name="T33" fmla="*/ 93 h 478"/>
              <a:gd name="T34" fmla="*/ 72 w 580"/>
              <a:gd name="T35" fmla="*/ 71 h 478"/>
              <a:gd name="T36" fmla="*/ 43 w 580"/>
              <a:gd name="T37" fmla="*/ 69 h 478"/>
              <a:gd name="T38" fmla="*/ 43 w 580"/>
              <a:gd name="T39" fmla="*/ 102 h 478"/>
              <a:gd name="T40" fmla="*/ 0 w 580"/>
              <a:gd name="T41" fmla="*/ 121 h 478"/>
              <a:gd name="T42" fmla="*/ 7 w 580"/>
              <a:gd name="T43" fmla="*/ 130 h 478"/>
              <a:gd name="T44" fmla="*/ 20 w 580"/>
              <a:gd name="T45" fmla="*/ 147 h 478"/>
              <a:gd name="T46" fmla="*/ 50 w 580"/>
              <a:gd name="T47" fmla="*/ 156 h 478"/>
              <a:gd name="T48" fmla="*/ 99 w 580"/>
              <a:gd name="T49" fmla="*/ 209 h 478"/>
              <a:gd name="T50" fmla="*/ 145 w 580"/>
              <a:gd name="T51" fmla="*/ 309 h 478"/>
              <a:gd name="T52" fmla="*/ 173 w 580"/>
              <a:gd name="T53" fmla="*/ 354 h 478"/>
              <a:gd name="T54" fmla="*/ 184 w 580"/>
              <a:gd name="T55" fmla="*/ 389 h 478"/>
              <a:gd name="T56" fmla="*/ 216 w 580"/>
              <a:gd name="T57" fmla="*/ 389 h 478"/>
              <a:gd name="T58" fmla="*/ 201 w 580"/>
              <a:gd name="T59" fmla="*/ 415 h 478"/>
              <a:gd name="T60" fmla="*/ 236 w 580"/>
              <a:gd name="T61" fmla="*/ 445 h 478"/>
              <a:gd name="T62" fmla="*/ 233 w 580"/>
              <a:gd name="T63" fmla="*/ 475 h 478"/>
              <a:gd name="T64" fmla="*/ 281 w 580"/>
              <a:gd name="T65" fmla="*/ 450 h 478"/>
              <a:gd name="T66" fmla="*/ 320 w 580"/>
              <a:gd name="T67" fmla="*/ 449 h 478"/>
              <a:gd name="T68" fmla="*/ 353 w 580"/>
              <a:gd name="T69" fmla="*/ 478 h 478"/>
              <a:gd name="T70" fmla="*/ 355 w 580"/>
              <a:gd name="T71" fmla="*/ 478 h 478"/>
              <a:gd name="T72" fmla="*/ 352 w 580"/>
              <a:gd name="T73" fmla="*/ 466 h 478"/>
              <a:gd name="T74" fmla="*/ 414 w 580"/>
              <a:gd name="T75" fmla="*/ 388 h 478"/>
              <a:gd name="T76" fmla="*/ 448 w 580"/>
              <a:gd name="T77" fmla="*/ 435 h 478"/>
              <a:gd name="T78" fmla="*/ 484 w 580"/>
              <a:gd name="T79" fmla="*/ 424 h 478"/>
              <a:gd name="T80" fmla="*/ 478 w 580"/>
              <a:gd name="T81" fmla="*/ 401 h 478"/>
              <a:gd name="T82" fmla="*/ 497 w 580"/>
              <a:gd name="T83" fmla="*/ 389 h 478"/>
              <a:gd name="T84" fmla="*/ 482 w 580"/>
              <a:gd name="T85" fmla="*/ 353 h 478"/>
              <a:gd name="T86" fmla="*/ 483 w 580"/>
              <a:gd name="T87" fmla="*/ 351 h 478"/>
              <a:gd name="T88" fmla="*/ 483 w 580"/>
              <a:gd name="T89" fmla="*/ 350 h 478"/>
              <a:gd name="T90" fmla="*/ 483 w 580"/>
              <a:gd name="T91" fmla="*/ 348 h 478"/>
              <a:gd name="T92" fmla="*/ 484 w 580"/>
              <a:gd name="T93" fmla="*/ 348 h 478"/>
              <a:gd name="T94" fmla="*/ 485 w 580"/>
              <a:gd name="T95" fmla="*/ 341 h 478"/>
              <a:gd name="T96" fmla="*/ 486 w 580"/>
              <a:gd name="T97" fmla="*/ 340 h 478"/>
              <a:gd name="T98" fmla="*/ 487 w 580"/>
              <a:gd name="T99" fmla="*/ 336 h 478"/>
              <a:gd name="T100" fmla="*/ 487 w 580"/>
              <a:gd name="T101" fmla="*/ 336 h 478"/>
              <a:gd name="T102" fmla="*/ 490 w 580"/>
              <a:gd name="T103" fmla="*/ 326 h 478"/>
              <a:gd name="T104" fmla="*/ 490 w 580"/>
              <a:gd name="T105" fmla="*/ 326 h 478"/>
              <a:gd name="T106" fmla="*/ 491 w 580"/>
              <a:gd name="T107" fmla="*/ 321 h 478"/>
              <a:gd name="T108" fmla="*/ 505 w 580"/>
              <a:gd name="T109" fmla="*/ 279 h 478"/>
              <a:gd name="T110" fmla="*/ 505 w 580"/>
              <a:gd name="T111" fmla="*/ 258 h 478"/>
              <a:gd name="T112" fmla="*/ 535 w 580"/>
              <a:gd name="T113" fmla="*/ 249 h 478"/>
              <a:gd name="T114" fmla="*/ 552 w 580"/>
              <a:gd name="T115" fmla="*/ 229 h 478"/>
              <a:gd name="T116" fmla="*/ 567 w 580"/>
              <a:gd name="T117" fmla="*/ 179 h 47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580"/>
              <a:gd name="T178" fmla="*/ 0 h 478"/>
              <a:gd name="T179" fmla="*/ 580 w 580"/>
              <a:gd name="T180" fmla="*/ 478 h 47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580" h="478">
                <a:moveTo>
                  <a:pt x="567" y="179"/>
                </a:moveTo>
                <a:cubicBezTo>
                  <a:pt x="553" y="162"/>
                  <a:pt x="525" y="153"/>
                  <a:pt x="524" y="150"/>
                </a:cubicBezTo>
                <a:cubicBezTo>
                  <a:pt x="524" y="148"/>
                  <a:pt x="549" y="127"/>
                  <a:pt x="542" y="121"/>
                </a:cubicBezTo>
                <a:cubicBezTo>
                  <a:pt x="536" y="114"/>
                  <a:pt x="517" y="95"/>
                  <a:pt x="517" y="95"/>
                </a:cubicBezTo>
                <a:cubicBezTo>
                  <a:pt x="517" y="95"/>
                  <a:pt x="517" y="84"/>
                  <a:pt x="518" y="74"/>
                </a:cubicBezTo>
                <a:cubicBezTo>
                  <a:pt x="496" y="70"/>
                  <a:pt x="473" y="65"/>
                  <a:pt x="473" y="65"/>
                </a:cubicBezTo>
                <a:cubicBezTo>
                  <a:pt x="460" y="43"/>
                  <a:pt x="460" y="43"/>
                  <a:pt x="460" y="43"/>
                </a:cubicBezTo>
                <a:cubicBezTo>
                  <a:pt x="427" y="28"/>
                  <a:pt x="427" y="28"/>
                  <a:pt x="427" y="28"/>
                </a:cubicBezTo>
                <a:cubicBezTo>
                  <a:pt x="396" y="61"/>
                  <a:pt x="396" y="61"/>
                  <a:pt x="396" y="61"/>
                </a:cubicBezTo>
                <a:cubicBezTo>
                  <a:pt x="365" y="50"/>
                  <a:pt x="365" y="50"/>
                  <a:pt x="365" y="50"/>
                </a:cubicBezTo>
                <a:cubicBezTo>
                  <a:pt x="333" y="47"/>
                  <a:pt x="333" y="47"/>
                  <a:pt x="333" y="47"/>
                </a:cubicBezTo>
                <a:cubicBezTo>
                  <a:pt x="333" y="47"/>
                  <a:pt x="281" y="75"/>
                  <a:pt x="281" y="65"/>
                </a:cubicBezTo>
                <a:cubicBezTo>
                  <a:pt x="281" y="58"/>
                  <a:pt x="239" y="43"/>
                  <a:pt x="220" y="37"/>
                </a:cubicBezTo>
                <a:cubicBezTo>
                  <a:pt x="214" y="35"/>
                  <a:pt x="210" y="34"/>
                  <a:pt x="210" y="34"/>
                </a:cubicBezTo>
                <a:cubicBezTo>
                  <a:pt x="192" y="0"/>
                  <a:pt x="192" y="0"/>
                  <a:pt x="192" y="0"/>
                </a:cubicBezTo>
                <a:cubicBezTo>
                  <a:pt x="190" y="0"/>
                  <a:pt x="188" y="0"/>
                  <a:pt x="186" y="0"/>
                </a:cubicBezTo>
                <a:cubicBezTo>
                  <a:pt x="130" y="0"/>
                  <a:pt x="104" y="93"/>
                  <a:pt x="104" y="93"/>
                </a:cubicBezTo>
                <a:cubicBezTo>
                  <a:pt x="72" y="71"/>
                  <a:pt x="72" y="71"/>
                  <a:pt x="72" y="71"/>
                </a:cubicBezTo>
                <a:cubicBezTo>
                  <a:pt x="72" y="71"/>
                  <a:pt x="56" y="71"/>
                  <a:pt x="43" y="69"/>
                </a:cubicBezTo>
                <a:cubicBezTo>
                  <a:pt x="30" y="67"/>
                  <a:pt x="43" y="102"/>
                  <a:pt x="43" y="102"/>
                </a:cubicBezTo>
                <a:cubicBezTo>
                  <a:pt x="0" y="121"/>
                  <a:pt x="0" y="121"/>
                  <a:pt x="0" y="121"/>
                </a:cubicBezTo>
                <a:cubicBezTo>
                  <a:pt x="7" y="130"/>
                  <a:pt x="7" y="130"/>
                  <a:pt x="7" y="130"/>
                </a:cubicBezTo>
                <a:cubicBezTo>
                  <a:pt x="20" y="147"/>
                  <a:pt x="20" y="147"/>
                  <a:pt x="20" y="147"/>
                </a:cubicBezTo>
                <a:cubicBezTo>
                  <a:pt x="50" y="156"/>
                  <a:pt x="50" y="156"/>
                  <a:pt x="50" y="156"/>
                </a:cubicBezTo>
                <a:cubicBezTo>
                  <a:pt x="50" y="156"/>
                  <a:pt x="78" y="182"/>
                  <a:pt x="99" y="209"/>
                </a:cubicBezTo>
                <a:cubicBezTo>
                  <a:pt x="119" y="235"/>
                  <a:pt x="145" y="298"/>
                  <a:pt x="145" y="309"/>
                </a:cubicBezTo>
                <a:cubicBezTo>
                  <a:pt x="145" y="320"/>
                  <a:pt x="156" y="341"/>
                  <a:pt x="173" y="354"/>
                </a:cubicBezTo>
                <a:cubicBezTo>
                  <a:pt x="190" y="367"/>
                  <a:pt x="184" y="389"/>
                  <a:pt x="184" y="389"/>
                </a:cubicBezTo>
                <a:cubicBezTo>
                  <a:pt x="216" y="389"/>
                  <a:pt x="216" y="389"/>
                  <a:pt x="216" y="389"/>
                </a:cubicBezTo>
                <a:cubicBezTo>
                  <a:pt x="201" y="415"/>
                  <a:pt x="201" y="415"/>
                  <a:pt x="201" y="415"/>
                </a:cubicBezTo>
                <a:cubicBezTo>
                  <a:pt x="236" y="445"/>
                  <a:pt x="236" y="445"/>
                  <a:pt x="236" y="445"/>
                </a:cubicBezTo>
                <a:cubicBezTo>
                  <a:pt x="233" y="475"/>
                  <a:pt x="233" y="475"/>
                  <a:pt x="233" y="475"/>
                </a:cubicBezTo>
                <a:cubicBezTo>
                  <a:pt x="281" y="450"/>
                  <a:pt x="281" y="450"/>
                  <a:pt x="281" y="450"/>
                </a:cubicBezTo>
                <a:cubicBezTo>
                  <a:pt x="320" y="449"/>
                  <a:pt x="320" y="449"/>
                  <a:pt x="320" y="449"/>
                </a:cubicBezTo>
                <a:cubicBezTo>
                  <a:pt x="353" y="478"/>
                  <a:pt x="353" y="478"/>
                  <a:pt x="353" y="478"/>
                </a:cubicBezTo>
                <a:cubicBezTo>
                  <a:pt x="353" y="478"/>
                  <a:pt x="354" y="478"/>
                  <a:pt x="355" y="478"/>
                </a:cubicBezTo>
                <a:cubicBezTo>
                  <a:pt x="352" y="466"/>
                  <a:pt x="352" y="466"/>
                  <a:pt x="352" y="466"/>
                </a:cubicBezTo>
                <a:cubicBezTo>
                  <a:pt x="352" y="466"/>
                  <a:pt x="402" y="382"/>
                  <a:pt x="414" y="388"/>
                </a:cubicBezTo>
                <a:cubicBezTo>
                  <a:pt x="426" y="395"/>
                  <a:pt x="430" y="436"/>
                  <a:pt x="448" y="435"/>
                </a:cubicBezTo>
                <a:cubicBezTo>
                  <a:pt x="466" y="434"/>
                  <a:pt x="488" y="422"/>
                  <a:pt x="484" y="424"/>
                </a:cubicBezTo>
                <a:cubicBezTo>
                  <a:pt x="480" y="426"/>
                  <a:pt x="478" y="401"/>
                  <a:pt x="478" y="401"/>
                </a:cubicBezTo>
                <a:cubicBezTo>
                  <a:pt x="478" y="401"/>
                  <a:pt x="502" y="398"/>
                  <a:pt x="497" y="389"/>
                </a:cubicBezTo>
                <a:cubicBezTo>
                  <a:pt x="491" y="380"/>
                  <a:pt x="481" y="364"/>
                  <a:pt x="482" y="353"/>
                </a:cubicBezTo>
                <a:cubicBezTo>
                  <a:pt x="482" y="352"/>
                  <a:pt x="483" y="352"/>
                  <a:pt x="483" y="351"/>
                </a:cubicBezTo>
                <a:cubicBezTo>
                  <a:pt x="483" y="351"/>
                  <a:pt x="483" y="351"/>
                  <a:pt x="483" y="350"/>
                </a:cubicBezTo>
                <a:cubicBezTo>
                  <a:pt x="483" y="350"/>
                  <a:pt x="483" y="349"/>
                  <a:pt x="483" y="348"/>
                </a:cubicBezTo>
                <a:cubicBezTo>
                  <a:pt x="483" y="348"/>
                  <a:pt x="483" y="348"/>
                  <a:pt x="484" y="348"/>
                </a:cubicBezTo>
                <a:cubicBezTo>
                  <a:pt x="484" y="346"/>
                  <a:pt x="485" y="343"/>
                  <a:pt x="485" y="341"/>
                </a:cubicBezTo>
                <a:cubicBezTo>
                  <a:pt x="485" y="340"/>
                  <a:pt x="485" y="340"/>
                  <a:pt x="486" y="340"/>
                </a:cubicBezTo>
                <a:cubicBezTo>
                  <a:pt x="486" y="339"/>
                  <a:pt x="486" y="337"/>
                  <a:pt x="487" y="336"/>
                </a:cubicBezTo>
                <a:cubicBezTo>
                  <a:pt x="487" y="336"/>
                  <a:pt x="487" y="336"/>
                  <a:pt x="487" y="336"/>
                </a:cubicBezTo>
                <a:cubicBezTo>
                  <a:pt x="488" y="333"/>
                  <a:pt x="489" y="329"/>
                  <a:pt x="490" y="326"/>
                </a:cubicBezTo>
                <a:cubicBezTo>
                  <a:pt x="490" y="326"/>
                  <a:pt x="490" y="326"/>
                  <a:pt x="490" y="326"/>
                </a:cubicBezTo>
                <a:cubicBezTo>
                  <a:pt x="490" y="324"/>
                  <a:pt x="491" y="322"/>
                  <a:pt x="491" y="321"/>
                </a:cubicBezTo>
                <a:cubicBezTo>
                  <a:pt x="498" y="300"/>
                  <a:pt x="505" y="279"/>
                  <a:pt x="505" y="279"/>
                </a:cubicBezTo>
                <a:cubicBezTo>
                  <a:pt x="505" y="258"/>
                  <a:pt x="505" y="258"/>
                  <a:pt x="505" y="258"/>
                </a:cubicBezTo>
                <a:cubicBezTo>
                  <a:pt x="505" y="258"/>
                  <a:pt x="529" y="254"/>
                  <a:pt x="535" y="249"/>
                </a:cubicBezTo>
                <a:cubicBezTo>
                  <a:pt x="541" y="243"/>
                  <a:pt x="545" y="234"/>
                  <a:pt x="552" y="229"/>
                </a:cubicBezTo>
                <a:cubicBezTo>
                  <a:pt x="559" y="223"/>
                  <a:pt x="580" y="196"/>
                  <a:pt x="567" y="179"/>
                </a:cubicBez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19" name="Freeform 198"/>
          <p:cNvSpPr>
            <a:spLocks/>
          </p:cNvSpPr>
          <p:nvPr/>
        </p:nvSpPr>
        <p:spPr bwMode="auto">
          <a:xfrm>
            <a:off x="612775" y="4764088"/>
            <a:ext cx="350838" cy="555625"/>
          </a:xfrm>
          <a:custGeom>
            <a:avLst/>
            <a:gdLst>
              <a:gd name="T0" fmla="*/ 273 w 304"/>
              <a:gd name="T1" fmla="*/ 416 h 481"/>
              <a:gd name="T2" fmla="*/ 304 w 304"/>
              <a:gd name="T3" fmla="*/ 419 h 481"/>
              <a:gd name="T4" fmla="*/ 276 w 304"/>
              <a:gd name="T5" fmla="*/ 358 h 481"/>
              <a:gd name="T6" fmla="*/ 298 w 304"/>
              <a:gd name="T7" fmla="*/ 339 h 481"/>
              <a:gd name="T8" fmla="*/ 276 w 304"/>
              <a:gd name="T9" fmla="*/ 314 h 481"/>
              <a:gd name="T10" fmla="*/ 274 w 304"/>
              <a:gd name="T11" fmla="*/ 302 h 481"/>
              <a:gd name="T12" fmla="*/ 273 w 304"/>
              <a:gd name="T13" fmla="*/ 295 h 481"/>
              <a:gd name="T14" fmla="*/ 253 w 304"/>
              <a:gd name="T15" fmla="*/ 283 h 481"/>
              <a:gd name="T16" fmla="*/ 242 w 304"/>
              <a:gd name="T17" fmla="*/ 261 h 481"/>
              <a:gd name="T18" fmla="*/ 193 w 304"/>
              <a:gd name="T19" fmla="*/ 249 h 481"/>
              <a:gd name="T20" fmla="*/ 194 w 304"/>
              <a:gd name="T21" fmla="*/ 206 h 481"/>
              <a:gd name="T22" fmla="*/ 177 w 304"/>
              <a:gd name="T23" fmla="*/ 189 h 481"/>
              <a:gd name="T24" fmla="*/ 169 w 304"/>
              <a:gd name="T25" fmla="*/ 153 h 481"/>
              <a:gd name="T26" fmla="*/ 142 w 304"/>
              <a:gd name="T27" fmla="*/ 131 h 481"/>
              <a:gd name="T28" fmla="*/ 101 w 304"/>
              <a:gd name="T29" fmla="*/ 85 h 481"/>
              <a:gd name="T30" fmla="*/ 82 w 304"/>
              <a:gd name="T31" fmla="*/ 60 h 481"/>
              <a:gd name="T32" fmla="*/ 78 w 304"/>
              <a:gd name="T33" fmla="*/ 31 h 481"/>
              <a:gd name="T34" fmla="*/ 62 w 304"/>
              <a:gd name="T35" fmla="*/ 22 h 481"/>
              <a:gd name="T36" fmla="*/ 52 w 304"/>
              <a:gd name="T37" fmla="*/ 1 h 481"/>
              <a:gd name="T38" fmla="*/ 36 w 304"/>
              <a:gd name="T39" fmla="*/ 5 h 481"/>
              <a:gd name="T40" fmla="*/ 39 w 304"/>
              <a:gd name="T41" fmla="*/ 33 h 481"/>
              <a:gd name="T42" fmla="*/ 55 w 304"/>
              <a:gd name="T43" fmla="*/ 68 h 481"/>
              <a:gd name="T44" fmla="*/ 57 w 304"/>
              <a:gd name="T45" fmla="*/ 103 h 481"/>
              <a:gd name="T46" fmla="*/ 74 w 304"/>
              <a:gd name="T47" fmla="*/ 128 h 481"/>
              <a:gd name="T48" fmla="*/ 27 w 304"/>
              <a:gd name="T49" fmla="*/ 211 h 481"/>
              <a:gd name="T50" fmla="*/ 0 w 304"/>
              <a:gd name="T51" fmla="*/ 200 h 481"/>
              <a:gd name="T52" fmla="*/ 0 w 304"/>
              <a:gd name="T53" fmla="*/ 236 h 481"/>
              <a:gd name="T54" fmla="*/ 26 w 304"/>
              <a:gd name="T55" fmla="*/ 239 h 481"/>
              <a:gd name="T56" fmla="*/ 46 w 304"/>
              <a:gd name="T57" fmla="*/ 278 h 481"/>
              <a:gd name="T58" fmla="*/ 65 w 304"/>
              <a:gd name="T59" fmla="*/ 267 h 481"/>
              <a:gd name="T60" fmla="*/ 67 w 304"/>
              <a:gd name="T61" fmla="*/ 274 h 481"/>
              <a:gd name="T62" fmla="*/ 88 w 304"/>
              <a:gd name="T63" fmla="*/ 345 h 481"/>
              <a:gd name="T64" fmla="*/ 91 w 304"/>
              <a:gd name="T65" fmla="*/ 355 h 481"/>
              <a:gd name="T66" fmla="*/ 130 w 304"/>
              <a:gd name="T67" fmla="*/ 366 h 481"/>
              <a:gd name="T68" fmla="*/ 133 w 304"/>
              <a:gd name="T69" fmla="*/ 368 h 481"/>
              <a:gd name="T70" fmla="*/ 198 w 304"/>
              <a:gd name="T71" fmla="*/ 403 h 481"/>
              <a:gd name="T72" fmla="*/ 199 w 304"/>
              <a:gd name="T73" fmla="*/ 403 h 481"/>
              <a:gd name="T74" fmla="*/ 234 w 304"/>
              <a:gd name="T75" fmla="*/ 451 h 481"/>
              <a:gd name="T76" fmla="*/ 256 w 304"/>
              <a:gd name="T77" fmla="*/ 481 h 481"/>
              <a:gd name="T78" fmla="*/ 273 w 304"/>
              <a:gd name="T79" fmla="*/ 466 h 481"/>
              <a:gd name="T80" fmla="*/ 273 w 304"/>
              <a:gd name="T81" fmla="*/ 416 h 48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304"/>
              <a:gd name="T124" fmla="*/ 0 h 481"/>
              <a:gd name="T125" fmla="*/ 304 w 304"/>
              <a:gd name="T126" fmla="*/ 481 h 481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304" h="481">
                <a:moveTo>
                  <a:pt x="273" y="416"/>
                </a:moveTo>
                <a:cubicBezTo>
                  <a:pt x="283" y="417"/>
                  <a:pt x="294" y="418"/>
                  <a:pt x="304" y="419"/>
                </a:cubicBezTo>
                <a:cubicBezTo>
                  <a:pt x="288" y="391"/>
                  <a:pt x="276" y="362"/>
                  <a:pt x="276" y="358"/>
                </a:cubicBezTo>
                <a:cubicBezTo>
                  <a:pt x="276" y="353"/>
                  <a:pt x="298" y="339"/>
                  <a:pt x="298" y="339"/>
                </a:cubicBezTo>
                <a:cubicBezTo>
                  <a:pt x="276" y="314"/>
                  <a:pt x="276" y="314"/>
                  <a:pt x="276" y="314"/>
                </a:cubicBezTo>
                <a:cubicBezTo>
                  <a:pt x="274" y="302"/>
                  <a:pt x="274" y="302"/>
                  <a:pt x="274" y="302"/>
                </a:cubicBezTo>
                <a:cubicBezTo>
                  <a:pt x="273" y="295"/>
                  <a:pt x="273" y="295"/>
                  <a:pt x="273" y="295"/>
                </a:cubicBezTo>
                <a:cubicBezTo>
                  <a:pt x="253" y="283"/>
                  <a:pt x="253" y="283"/>
                  <a:pt x="253" y="283"/>
                </a:cubicBezTo>
                <a:cubicBezTo>
                  <a:pt x="253" y="283"/>
                  <a:pt x="244" y="261"/>
                  <a:pt x="242" y="261"/>
                </a:cubicBezTo>
                <a:cubicBezTo>
                  <a:pt x="239" y="261"/>
                  <a:pt x="193" y="249"/>
                  <a:pt x="193" y="249"/>
                </a:cubicBezTo>
                <a:cubicBezTo>
                  <a:pt x="193" y="249"/>
                  <a:pt x="202" y="220"/>
                  <a:pt x="194" y="206"/>
                </a:cubicBezTo>
                <a:cubicBezTo>
                  <a:pt x="186" y="192"/>
                  <a:pt x="177" y="193"/>
                  <a:pt x="177" y="189"/>
                </a:cubicBezTo>
                <a:cubicBezTo>
                  <a:pt x="177" y="185"/>
                  <a:pt x="169" y="153"/>
                  <a:pt x="169" y="153"/>
                </a:cubicBezTo>
                <a:cubicBezTo>
                  <a:pt x="142" y="131"/>
                  <a:pt x="142" y="131"/>
                  <a:pt x="142" y="131"/>
                </a:cubicBezTo>
                <a:cubicBezTo>
                  <a:pt x="142" y="131"/>
                  <a:pt x="108" y="98"/>
                  <a:pt x="101" y="85"/>
                </a:cubicBezTo>
                <a:cubicBezTo>
                  <a:pt x="93" y="71"/>
                  <a:pt x="82" y="60"/>
                  <a:pt x="82" y="60"/>
                </a:cubicBezTo>
                <a:cubicBezTo>
                  <a:pt x="82" y="60"/>
                  <a:pt x="80" y="33"/>
                  <a:pt x="78" y="31"/>
                </a:cubicBezTo>
                <a:cubicBezTo>
                  <a:pt x="76" y="29"/>
                  <a:pt x="62" y="22"/>
                  <a:pt x="62" y="22"/>
                </a:cubicBezTo>
                <a:cubicBezTo>
                  <a:pt x="62" y="22"/>
                  <a:pt x="66" y="0"/>
                  <a:pt x="52" y="1"/>
                </a:cubicBezTo>
                <a:cubicBezTo>
                  <a:pt x="46" y="1"/>
                  <a:pt x="41" y="3"/>
                  <a:pt x="36" y="5"/>
                </a:cubicBezTo>
                <a:cubicBezTo>
                  <a:pt x="39" y="33"/>
                  <a:pt x="39" y="33"/>
                  <a:pt x="39" y="33"/>
                </a:cubicBezTo>
                <a:cubicBezTo>
                  <a:pt x="55" y="68"/>
                  <a:pt x="55" y="68"/>
                  <a:pt x="55" y="68"/>
                </a:cubicBezTo>
                <a:cubicBezTo>
                  <a:pt x="57" y="103"/>
                  <a:pt x="57" y="103"/>
                  <a:pt x="57" y="103"/>
                </a:cubicBezTo>
                <a:cubicBezTo>
                  <a:pt x="57" y="103"/>
                  <a:pt x="85" y="118"/>
                  <a:pt x="74" y="128"/>
                </a:cubicBezTo>
                <a:cubicBezTo>
                  <a:pt x="63" y="137"/>
                  <a:pt x="27" y="211"/>
                  <a:pt x="27" y="211"/>
                </a:cubicBezTo>
                <a:cubicBezTo>
                  <a:pt x="0" y="200"/>
                  <a:pt x="0" y="200"/>
                  <a:pt x="0" y="200"/>
                </a:cubicBezTo>
                <a:cubicBezTo>
                  <a:pt x="0" y="236"/>
                  <a:pt x="0" y="236"/>
                  <a:pt x="0" y="236"/>
                </a:cubicBezTo>
                <a:cubicBezTo>
                  <a:pt x="26" y="239"/>
                  <a:pt x="26" y="239"/>
                  <a:pt x="26" y="239"/>
                </a:cubicBezTo>
                <a:cubicBezTo>
                  <a:pt x="46" y="278"/>
                  <a:pt x="46" y="278"/>
                  <a:pt x="46" y="278"/>
                </a:cubicBezTo>
                <a:cubicBezTo>
                  <a:pt x="65" y="267"/>
                  <a:pt x="65" y="267"/>
                  <a:pt x="65" y="267"/>
                </a:cubicBezTo>
                <a:cubicBezTo>
                  <a:pt x="67" y="274"/>
                  <a:pt x="67" y="274"/>
                  <a:pt x="67" y="274"/>
                </a:cubicBezTo>
                <a:cubicBezTo>
                  <a:pt x="88" y="345"/>
                  <a:pt x="88" y="345"/>
                  <a:pt x="88" y="345"/>
                </a:cubicBezTo>
                <a:cubicBezTo>
                  <a:pt x="91" y="355"/>
                  <a:pt x="91" y="355"/>
                  <a:pt x="91" y="355"/>
                </a:cubicBezTo>
                <a:cubicBezTo>
                  <a:pt x="130" y="366"/>
                  <a:pt x="130" y="366"/>
                  <a:pt x="130" y="366"/>
                </a:cubicBezTo>
                <a:cubicBezTo>
                  <a:pt x="130" y="366"/>
                  <a:pt x="131" y="367"/>
                  <a:pt x="133" y="368"/>
                </a:cubicBezTo>
                <a:cubicBezTo>
                  <a:pt x="145" y="375"/>
                  <a:pt x="186" y="401"/>
                  <a:pt x="198" y="403"/>
                </a:cubicBezTo>
                <a:cubicBezTo>
                  <a:pt x="198" y="403"/>
                  <a:pt x="198" y="403"/>
                  <a:pt x="199" y="403"/>
                </a:cubicBezTo>
                <a:cubicBezTo>
                  <a:pt x="210" y="403"/>
                  <a:pt x="234" y="451"/>
                  <a:pt x="234" y="451"/>
                </a:cubicBezTo>
                <a:cubicBezTo>
                  <a:pt x="256" y="481"/>
                  <a:pt x="256" y="481"/>
                  <a:pt x="256" y="481"/>
                </a:cubicBezTo>
                <a:cubicBezTo>
                  <a:pt x="273" y="466"/>
                  <a:pt x="273" y="466"/>
                  <a:pt x="273" y="466"/>
                </a:cubicBezTo>
                <a:cubicBezTo>
                  <a:pt x="273" y="466"/>
                  <a:pt x="245" y="414"/>
                  <a:pt x="273" y="416"/>
                </a:cubicBez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20" name="Freeform 199"/>
          <p:cNvSpPr>
            <a:spLocks/>
          </p:cNvSpPr>
          <p:nvPr/>
        </p:nvSpPr>
        <p:spPr bwMode="auto">
          <a:xfrm>
            <a:off x="650875" y="5162550"/>
            <a:ext cx="192088" cy="361950"/>
          </a:xfrm>
          <a:custGeom>
            <a:avLst/>
            <a:gdLst>
              <a:gd name="T0" fmla="*/ 166 w 166"/>
              <a:gd name="T1" fmla="*/ 110 h 313"/>
              <a:gd name="T2" fmla="*/ 162 w 166"/>
              <a:gd name="T3" fmla="*/ 57 h 313"/>
              <a:gd name="T4" fmla="*/ 159 w 166"/>
              <a:gd name="T5" fmla="*/ 56 h 313"/>
              <a:gd name="T6" fmla="*/ 156 w 166"/>
              <a:gd name="T7" fmla="*/ 55 h 313"/>
              <a:gd name="T8" fmla="*/ 152 w 166"/>
              <a:gd name="T9" fmla="*/ 53 h 313"/>
              <a:gd name="T10" fmla="*/ 147 w 166"/>
              <a:gd name="T11" fmla="*/ 51 h 313"/>
              <a:gd name="T12" fmla="*/ 143 w 166"/>
              <a:gd name="T13" fmla="*/ 48 h 313"/>
              <a:gd name="T14" fmla="*/ 137 w 166"/>
              <a:gd name="T15" fmla="*/ 45 h 313"/>
              <a:gd name="T16" fmla="*/ 133 w 166"/>
              <a:gd name="T17" fmla="*/ 43 h 313"/>
              <a:gd name="T18" fmla="*/ 128 w 166"/>
              <a:gd name="T19" fmla="*/ 40 h 313"/>
              <a:gd name="T20" fmla="*/ 123 w 166"/>
              <a:gd name="T21" fmla="*/ 37 h 313"/>
              <a:gd name="T22" fmla="*/ 118 w 166"/>
              <a:gd name="T23" fmla="*/ 34 h 313"/>
              <a:gd name="T24" fmla="*/ 114 w 166"/>
              <a:gd name="T25" fmla="*/ 32 h 313"/>
              <a:gd name="T26" fmla="*/ 110 w 166"/>
              <a:gd name="T27" fmla="*/ 29 h 313"/>
              <a:gd name="T28" fmla="*/ 106 w 166"/>
              <a:gd name="T29" fmla="*/ 27 h 313"/>
              <a:gd name="T30" fmla="*/ 103 w 166"/>
              <a:gd name="T31" fmla="*/ 25 h 313"/>
              <a:gd name="T32" fmla="*/ 100 w 166"/>
              <a:gd name="T33" fmla="*/ 23 h 313"/>
              <a:gd name="T34" fmla="*/ 58 w 166"/>
              <a:gd name="T35" fmla="*/ 10 h 313"/>
              <a:gd name="T36" fmla="*/ 47 w 166"/>
              <a:gd name="T37" fmla="*/ 19 h 313"/>
              <a:gd name="T38" fmla="*/ 37 w 166"/>
              <a:gd name="T39" fmla="*/ 105 h 313"/>
              <a:gd name="T40" fmla="*/ 41 w 166"/>
              <a:gd name="T41" fmla="*/ 131 h 313"/>
              <a:gd name="T42" fmla="*/ 41 w 166"/>
              <a:gd name="T43" fmla="*/ 134 h 313"/>
              <a:gd name="T44" fmla="*/ 41 w 166"/>
              <a:gd name="T45" fmla="*/ 143 h 313"/>
              <a:gd name="T46" fmla="*/ 41 w 166"/>
              <a:gd name="T47" fmla="*/ 145 h 313"/>
              <a:gd name="T48" fmla="*/ 41 w 166"/>
              <a:gd name="T49" fmla="*/ 152 h 313"/>
              <a:gd name="T50" fmla="*/ 41 w 166"/>
              <a:gd name="T51" fmla="*/ 154 h 313"/>
              <a:gd name="T52" fmla="*/ 41 w 166"/>
              <a:gd name="T53" fmla="*/ 157 h 313"/>
              <a:gd name="T54" fmla="*/ 41 w 166"/>
              <a:gd name="T55" fmla="*/ 158 h 313"/>
              <a:gd name="T56" fmla="*/ 41 w 166"/>
              <a:gd name="T57" fmla="*/ 158 h 313"/>
              <a:gd name="T58" fmla="*/ 31 w 166"/>
              <a:gd name="T59" fmla="*/ 162 h 313"/>
              <a:gd name="T60" fmla="*/ 48 w 166"/>
              <a:gd name="T61" fmla="*/ 280 h 313"/>
              <a:gd name="T62" fmla="*/ 120 w 166"/>
              <a:gd name="T63" fmla="*/ 285 h 313"/>
              <a:gd name="T64" fmla="*/ 147 w 166"/>
              <a:gd name="T65" fmla="*/ 259 h 313"/>
              <a:gd name="T66" fmla="*/ 112 w 166"/>
              <a:gd name="T67" fmla="*/ 187 h 313"/>
              <a:gd name="T68" fmla="*/ 145 w 166"/>
              <a:gd name="T69" fmla="*/ 182 h 313"/>
              <a:gd name="T70" fmla="*/ 144 w 166"/>
              <a:gd name="T71" fmla="*/ 178 h 313"/>
              <a:gd name="T72" fmla="*/ 144 w 166"/>
              <a:gd name="T73" fmla="*/ 174 h 313"/>
              <a:gd name="T74" fmla="*/ 140 w 166"/>
              <a:gd name="T75" fmla="*/ 127 h 31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66"/>
              <a:gd name="T115" fmla="*/ 0 h 313"/>
              <a:gd name="T116" fmla="*/ 166 w 166"/>
              <a:gd name="T117" fmla="*/ 313 h 31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66" h="313">
                <a:moveTo>
                  <a:pt x="140" y="127"/>
                </a:moveTo>
                <a:cubicBezTo>
                  <a:pt x="153" y="120"/>
                  <a:pt x="166" y="120"/>
                  <a:pt x="166" y="110"/>
                </a:cubicBezTo>
                <a:cubicBezTo>
                  <a:pt x="166" y="102"/>
                  <a:pt x="161" y="88"/>
                  <a:pt x="165" y="58"/>
                </a:cubicBezTo>
                <a:cubicBezTo>
                  <a:pt x="164" y="58"/>
                  <a:pt x="163" y="58"/>
                  <a:pt x="162" y="57"/>
                </a:cubicBezTo>
                <a:cubicBezTo>
                  <a:pt x="162" y="57"/>
                  <a:pt x="162" y="57"/>
                  <a:pt x="162" y="57"/>
                </a:cubicBezTo>
                <a:cubicBezTo>
                  <a:pt x="161" y="57"/>
                  <a:pt x="160" y="57"/>
                  <a:pt x="159" y="56"/>
                </a:cubicBezTo>
                <a:cubicBezTo>
                  <a:pt x="159" y="56"/>
                  <a:pt x="159" y="56"/>
                  <a:pt x="159" y="56"/>
                </a:cubicBezTo>
                <a:cubicBezTo>
                  <a:pt x="158" y="56"/>
                  <a:pt x="157" y="55"/>
                  <a:pt x="156" y="55"/>
                </a:cubicBezTo>
                <a:cubicBezTo>
                  <a:pt x="155" y="55"/>
                  <a:pt x="155" y="55"/>
                  <a:pt x="155" y="55"/>
                </a:cubicBezTo>
                <a:cubicBezTo>
                  <a:pt x="154" y="54"/>
                  <a:pt x="153" y="54"/>
                  <a:pt x="152" y="53"/>
                </a:cubicBezTo>
                <a:cubicBezTo>
                  <a:pt x="152" y="53"/>
                  <a:pt x="151" y="53"/>
                  <a:pt x="151" y="53"/>
                </a:cubicBezTo>
                <a:cubicBezTo>
                  <a:pt x="150" y="52"/>
                  <a:pt x="149" y="52"/>
                  <a:pt x="147" y="51"/>
                </a:cubicBezTo>
                <a:cubicBezTo>
                  <a:pt x="147" y="51"/>
                  <a:pt x="147" y="51"/>
                  <a:pt x="147" y="50"/>
                </a:cubicBezTo>
                <a:cubicBezTo>
                  <a:pt x="145" y="50"/>
                  <a:pt x="144" y="49"/>
                  <a:pt x="143" y="48"/>
                </a:cubicBezTo>
                <a:cubicBezTo>
                  <a:pt x="142" y="48"/>
                  <a:pt x="142" y="48"/>
                  <a:pt x="142" y="48"/>
                </a:cubicBezTo>
                <a:cubicBezTo>
                  <a:pt x="140" y="47"/>
                  <a:pt x="139" y="46"/>
                  <a:pt x="137" y="45"/>
                </a:cubicBezTo>
                <a:cubicBezTo>
                  <a:pt x="137" y="45"/>
                  <a:pt x="137" y="45"/>
                  <a:pt x="137" y="45"/>
                </a:cubicBezTo>
                <a:cubicBezTo>
                  <a:pt x="136" y="45"/>
                  <a:pt x="134" y="44"/>
                  <a:pt x="133" y="43"/>
                </a:cubicBezTo>
                <a:cubicBezTo>
                  <a:pt x="133" y="43"/>
                  <a:pt x="132" y="43"/>
                  <a:pt x="132" y="42"/>
                </a:cubicBezTo>
                <a:cubicBezTo>
                  <a:pt x="131" y="42"/>
                  <a:pt x="129" y="41"/>
                  <a:pt x="128" y="40"/>
                </a:cubicBezTo>
                <a:cubicBezTo>
                  <a:pt x="128" y="40"/>
                  <a:pt x="127" y="40"/>
                  <a:pt x="127" y="39"/>
                </a:cubicBezTo>
                <a:cubicBezTo>
                  <a:pt x="126" y="39"/>
                  <a:pt x="124" y="38"/>
                  <a:pt x="123" y="37"/>
                </a:cubicBezTo>
                <a:cubicBezTo>
                  <a:pt x="123" y="37"/>
                  <a:pt x="122" y="37"/>
                  <a:pt x="122" y="36"/>
                </a:cubicBezTo>
                <a:cubicBezTo>
                  <a:pt x="121" y="36"/>
                  <a:pt x="120" y="35"/>
                  <a:pt x="118" y="34"/>
                </a:cubicBezTo>
                <a:cubicBezTo>
                  <a:pt x="118" y="34"/>
                  <a:pt x="118" y="34"/>
                  <a:pt x="118" y="34"/>
                </a:cubicBezTo>
                <a:cubicBezTo>
                  <a:pt x="116" y="33"/>
                  <a:pt x="115" y="32"/>
                  <a:pt x="114" y="32"/>
                </a:cubicBezTo>
                <a:cubicBezTo>
                  <a:pt x="114" y="31"/>
                  <a:pt x="113" y="31"/>
                  <a:pt x="113" y="31"/>
                </a:cubicBezTo>
                <a:cubicBezTo>
                  <a:pt x="112" y="30"/>
                  <a:pt x="111" y="30"/>
                  <a:pt x="110" y="29"/>
                </a:cubicBezTo>
                <a:cubicBezTo>
                  <a:pt x="109" y="29"/>
                  <a:pt x="109" y="29"/>
                  <a:pt x="109" y="28"/>
                </a:cubicBezTo>
                <a:cubicBezTo>
                  <a:pt x="108" y="28"/>
                  <a:pt x="107" y="27"/>
                  <a:pt x="106" y="27"/>
                </a:cubicBezTo>
                <a:cubicBezTo>
                  <a:pt x="106" y="27"/>
                  <a:pt x="105" y="26"/>
                  <a:pt x="105" y="26"/>
                </a:cubicBezTo>
                <a:cubicBezTo>
                  <a:pt x="104" y="26"/>
                  <a:pt x="104" y="25"/>
                  <a:pt x="103" y="25"/>
                </a:cubicBezTo>
                <a:cubicBezTo>
                  <a:pt x="103" y="25"/>
                  <a:pt x="102" y="24"/>
                  <a:pt x="102" y="24"/>
                </a:cubicBezTo>
                <a:cubicBezTo>
                  <a:pt x="101" y="24"/>
                  <a:pt x="101" y="23"/>
                  <a:pt x="100" y="23"/>
                </a:cubicBezTo>
                <a:cubicBezTo>
                  <a:pt x="98" y="22"/>
                  <a:pt x="97" y="21"/>
                  <a:pt x="97" y="21"/>
                </a:cubicBezTo>
                <a:cubicBezTo>
                  <a:pt x="58" y="10"/>
                  <a:pt x="58" y="10"/>
                  <a:pt x="58" y="10"/>
                </a:cubicBezTo>
                <a:cubicBezTo>
                  <a:pt x="55" y="0"/>
                  <a:pt x="55" y="0"/>
                  <a:pt x="55" y="0"/>
                </a:cubicBezTo>
                <a:cubicBezTo>
                  <a:pt x="47" y="19"/>
                  <a:pt x="47" y="19"/>
                  <a:pt x="47" y="19"/>
                </a:cubicBezTo>
                <a:cubicBezTo>
                  <a:pt x="47" y="19"/>
                  <a:pt x="41" y="34"/>
                  <a:pt x="21" y="54"/>
                </a:cubicBezTo>
                <a:cubicBezTo>
                  <a:pt x="0" y="75"/>
                  <a:pt x="32" y="95"/>
                  <a:pt x="37" y="105"/>
                </a:cubicBezTo>
                <a:cubicBezTo>
                  <a:pt x="39" y="108"/>
                  <a:pt x="40" y="116"/>
                  <a:pt x="41" y="126"/>
                </a:cubicBezTo>
                <a:cubicBezTo>
                  <a:pt x="41" y="127"/>
                  <a:pt x="41" y="129"/>
                  <a:pt x="41" y="131"/>
                </a:cubicBezTo>
                <a:cubicBezTo>
                  <a:pt x="41" y="131"/>
                  <a:pt x="41" y="132"/>
                  <a:pt x="41" y="132"/>
                </a:cubicBezTo>
                <a:cubicBezTo>
                  <a:pt x="41" y="133"/>
                  <a:pt x="41" y="133"/>
                  <a:pt x="41" y="134"/>
                </a:cubicBezTo>
                <a:cubicBezTo>
                  <a:pt x="41" y="134"/>
                  <a:pt x="41" y="134"/>
                  <a:pt x="41" y="134"/>
                </a:cubicBezTo>
                <a:cubicBezTo>
                  <a:pt x="41" y="137"/>
                  <a:pt x="41" y="140"/>
                  <a:pt x="41" y="143"/>
                </a:cubicBezTo>
                <a:cubicBezTo>
                  <a:pt x="41" y="143"/>
                  <a:pt x="41" y="143"/>
                  <a:pt x="41" y="143"/>
                </a:cubicBezTo>
                <a:cubicBezTo>
                  <a:pt x="41" y="144"/>
                  <a:pt x="41" y="145"/>
                  <a:pt x="41" y="145"/>
                </a:cubicBezTo>
                <a:cubicBezTo>
                  <a:pt x="41" y="145"/>
                  <a:pt x="41" y="145"/>
                  <a:pt x="41" y="145"/>
                </a:cubicBezTo>
                <a:cubicBezTo>
                  <a:pt x="41" y="148"/>
                  <a:pt x="41" y="150"/>
                  <a:pt x="41" y="152"/>
                </a:cubicBezTo>
                <a:cubicBezTo>
                  <a:pt x="41" y="152"/>
                  <a:pt x="41" y="152"/>
                  <a:pt x="41" y="152"/>
                </a:cubicBezTo>
                <a:cubicBezTo>
                  <a:pt x="41" y="153"/>
                  <a:pt x="41" y="153"/>
                  <a:pt x="41" y="154"/>
                </a:cubicBezTo>
                <a:cubicBezTo>
                  <a:pt x="41" y="154"/>
                  <a:pt x="41" y="154"/>
                  <a:pt x="41" y="154"/>
                </a:cubicBezTo>
                <a:cubicBezTo>
                  <a:pt x="41" y="155"/>
                  <a:pt x="41" y="156"/>
                  <a:pt x="41" y="157"/>
                </a:cubicBezTo>
                <a:cubicBezTo>
                  <a:pt x="41" y="157"/>
                  <a:pt x="41" y="157"/>
                  <a:pt x="41" y="157"/>
                </a:cubicBezTo>
                <a:cubicBezTo>
                  <a:pt x="41" y="157"/>
                  <a:pt x="41" y="158"/>
                  <a:pt x="41" y="158"/>
                </a:cubicBezTo>
                <a:cubicBezTo>
                  <a:pt x="41" y="158"/>
                  <a:pt x="41" y="158"/>
                  <a:pt x="41" y="158"/>
                </a:cubicBezTo>
                <a:cubicBezTo>
                  <a:pt x="41" y="158"/>
                  <a:pt x="41" y="158"/>
                  <a:pt x="41" y="158"/>
                </a:cubicBezTo>
                <a:cubicBezTo>
                  <a:pt x="41" y="158"/>
                  <a:pt x="41" y="159"/>
                  <a:pt x="41" y="159"/>
                </a:cubicBezTo>
                <a:cubicBezTo>
                  <a:pt x="41" y="159"/>
                  <a:pt x="37" y="160"/>
                  <a:pt x="31" y="162"/>
                </a:cubicBezTo>
                <a:cubicBezTo>
                  <a:pt x="36" y="172"/>
                  <a:pt x="40" y="183"/>
                  <a:pt x="39" y="190"/>
                </a:cubicBezTo>
                <a:cubicBezTo>
                  <a:pt x="37" y="205"/>
                  <a:pt x="41" y="265"/>
                  <a:pt x="48" y="280"/>
                </a:cubicBezTo>
                <a:cubicBezTo>
                  <a:pt x="56" y="294"/>
                  <a:pt x="101" y="313"/>
                  <a:pt x="101" y="313"/>
                </a:cubicBezTo>
                <a:cubicBezTo>
                  <a:pt x="120" y="285"/>
                  <a:pt x="120" y="285"/>
                  <a:pt x="120" y="285"/>
                </a:cubicBezTo>
                <a:cubicBezTo>
                  <a:pt x="130" y="270"/>
                  <a:pt x="130" y="270"/>
                  <a:pt x="130" y="270"/>
                </a:cubicBezTo>
                <a:cubicBezTo>
                  <a:pt x="147" y="259"/>
                  <a:pt x="147" y="259"/>
                  <a:pt x="147" y="259"/>
                </a:cubicBezTo>
                <a:cubicBezTo>
                  <a:pt x="147" y="259"/>
                  <a:pt x="134" y="246"/>
                  <a:pt x="123" y="216"/>
                </a:cubicBezTo>
                <a:cubicBezTo>
                  <a:pt x="112" y="187"/>
                  <a:pt x="112" y="187"/>
                  <a:pt x="112" y="187"/>
                </a:cubicBezTo>
                <a:cubicBezTo>
                  <a:pt x="112" y="187"/>
                  <a:pt x="145" y="200"/>
                  <a:pt x="145" y="185"/>
                </a:cubicBezTo>
                <a:cubicBezTo>
                  <a:pt x="145" y="184"/>
                  <a:pt x="145" y="183"/>
                  <a:pt x="145" y="182"/>
                </a:cubicBezTo>
                <a:cubicBezTo>
                  <a:pt x="145" y="181"/>
                  <a:pt x="145" y="181"/>
                  <a:pt x="145" y="180"/>
                </a:cubicBezTo>
                <a:cubicBezTo>
                  <a:pt x="145" y="179"/>
                  <a:pt x="145" y="179"/>
                  <a:pt x="144" y="178"/>
                </a:cubicBezTo>
                <a:cubicBezTo>
                  <a:pt x="144" y="177"/>
                  <a:pt x="144" y="176"/>
                  <a:pt x="144" y="176"/>
                </a:cubicBezTo>
                <a:cubicBezTo>
                  <a:pt x="144" y="175"/>
                  <a:pt x="144" y="175"/>
                  <a:pt x="144" y="174"/>
                </a:cubicBezTo>
                <a:cubicBezTo>
                  <a:pt x="142" y="167"/>
                  <a:pt x="139" y="159"/>
                  <a:pt x="137" y="151"/>
                </a:cubicBezTo>
                <a:cubicBezTo>
                  <a:pt x="134" y="140"/>
                  <a:pt x="133" y="131"/>
                  <a:pt x="140" y="127"/>
                </a:cubicBez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21" name="Freeform 200"/>
          <p:cNvSpPr>
            <a:spLocks/>
          </p:cNvSpPr>
          <p:nvPr/>
        </p:nvSpPr>
        <p:spPr bwMode="auto">
          <a:xfrm>
            <a:off x="781050" y="5229225"/>
            <a:ext cx="361950" cy="454025"/>
          </a:xfrm>
          <a:custGeom>
            <a:avLst/>
            <a:gdLst>
              <a:gd name="T0" fmla="*/ 284 w 314"/>
              <a:gd name="T1" fmla="*/ 249 h 393"/>
              <a:gd name="T2" fmla="*/ 283 w 314"/>
              <a:gd name="T3" fmla="*/ 115 h 393"/>
              <a:gd name="T4" fmla="*/ 279 w 314"/>
              <a:gd name="T5" fmla="*/ 108 h 393"/>
              <a:gd name="T6" fmla="*/ 255 w 314"/>
              <a:gd name="T7" fmla="*/ 117 h 393"/>
              <a:gd name="T8" fmla="*/ 225 w 314"/>
              <a:gd name="T9" fmla="*/ 115 h 393"/>
              <a:gd name="T10" fmla="*/ 203 w 314"/>
              <a:gd name="T11" fmla="*/ 128 h 393"/>
              <a:gd name="T12" fmla="*/ 179 w 314"/>
              <a:gd name="T13" fmla="*/ 101 h 393"/>
              <a:gd name="T14" fmla="*/ 174 w 314"/>
              <a:gd name="T15" fmla="*/ 41 h 393"/>
              <a:gd name="T16" fmla="*/ 159 w 314"/>
              <a:gd name="T17" fmla="*/ 16 h 393"/>
              <a:gd name="T18" fmla="*/ 128 w 314"/>
              <a:gd name="T19" fmla="*/ 13 h 393"/>
              <a:gd name="T20" fmla="*/ 128 w 314"/>
              <a:gd name="T21" fmla="*/ 63 h 393"/>
              <a:gd name="T22" fmla="*/ 111 w 314"/>
              <a:gd name="T23" fmla="*/ 78 h 393"/>
              <a:gd name="T24" fmla="*/ 89 w 314"/>
              <a:gd name="T25" fmla="*/ 48 h 393"/>
              <a:gd name="T26" fmla="*/ 54 w 314"/>
              <a:gd name="T27" fmla="*/ 0 h 393"/>
              <a:gd name="T28" fmla="*/ 53 w 314"/>
              <a:gd name="T29" fmla="*/ 0 h 393"/>
              <a:gd name="T30" fmla="*/ 54 w 314"/>
              <a:gd name="T31" fmla="*/ 52 h 393"/>
              <a:gd name="T32" fmla="*/ 28 w 314"/>
              <a:gd name="T33" fmla="*/ 69 h 393"/>
              <a:gd name="T34" fmla="*/ 25 w 314"/>
              <a:gd name="T35" fmla="*/ 93 h 393"/>
              <a:gd name="T36" fmla="*/ 33 w 314"/>
              <a:gd name="T37" fmla="*/ 127 h 393"/>
              <a:gd name="T38" fmla="*/ 0 w 314"/>
              <a:gd name="T39" fmla="*/ 129 h 393"/>
              <a:gd name="T40" fmla="*/ 11 w 314"/>
              <a:gd name="T41" fmla="*/ 158 h 393"/>
              <a:gd name="T42" fmla="*/ 35 w 314"/>
              <a:gd name="T43" fmla="*/ 201 h 393"/>
              <a:gd name="T44" fmla="*/ 18 w 314"/>
              <a:gd name="T45" fmla="*/ 212 h 393"/>
              <a:gd name="T46" fmla="*/ 8 w 314"/>
              <a:gd name="T47" fmla="*/ 227 h 393"/>
              <a:gd name="T48" fmla="*/ 130 w 314"/>
              <a:gd name="T49" fmla="*/ 257 h 393"/>
              <a:gd name="T50" fmla="*/ 134 w 314"/>
              <a:gd name="T51" fmla="*/ 296 h 393"/>
              <a:gd name="T52" fmla="*/ 111 w 314"/>
              <a:gd name="T53" fmla="*/ 296 h 393"/>
              <a:gd name="T54" fmla="*/ 110 w 314"/>
              <a:gd name="T55" fmla="*/ 324 h 393"/>
              <a:gd name="T56" fmla="*/ 89 w 314"/>
              <a:gd name="T57" fmla="*/ 324 h 393"/>
              <a:gd name="T58" fmla="*/ 98 w 314"/>
              <a:gd name="T59" fmla="*/ 365 h 393"/>
              <a:gd name="T60" fmla="*/ 111 w 314"/>
              <a:gd name="T61" fmla="*/ 393 h 393"/>
              <a:gd name="T62" fmla="*/ 113 w 314"/>
              <a:gd name="T63" fmla="*/ 391 h 393"/>
              <a:gd name="T64" fmla="*/ 158 w 314"/>
              <a:gd name="T65" fmla="*/ 331 h 393"/>
              <a:gd name="T66" fmla="*/ 158 w 314"/>
              <a:gd name="T67" fmla="*/ 356 h 393"/>
              <a:gd name="T68" fmla="*/ 245 w 314"/>
              <a:gd name="T69" fmla="*/ 276 h 393"/>
              <a:gd name="T70" fmla="*/ 279 w 314"/>
              <a:gd name="T71" fmla="*/ 274 h 393"/>
              <a:gd name="T72" fmla="*/ 314 w 314"/>
              <a:gd name="T73" fmla="*/ 296 h 393"/>
              <a:gd name="T74" fmla="*/ 284 w 314"/>
              <a:gd name="T75" fmla="*/ 249 h 3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314"/>
              <a:gd name="T115" fmla="*/ 0 h 393"/>
              <a:gd name="T116" fmla="*/ 314 w 314"/>
              <a:gd name="T117" fmla="*/ 393 h 39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314" h="393">
                <a:moveTo>
                  <a:pt x="284" y="249"/>
                </a:moveTo>
                <a:cubicBezTo>
                  <a:pt x="273" y="229"/>
                  <a:pt x="294" y="136"/>
                  <a:pt x="283" y="115"/>
                </a:cubicBezTo>
                <a:cubicBezTo>
                  <a:pt x="281" y="113"/>
                  <a:pt x="280" y="110"/>
                  <a:pt x="279" y="108"/>
                </a:cubicBezTo>
                <a:cubicBezTo>
                  <a:pt x="271" y="111"/>
                  <a:pt x="257" y="117"/>
                  <a:pt x="255" y="117"/>
                </a:cubicBezTo>
                <a:cubicBezTo>
                  <a:pt x="252" y="117"/>
                  <a:pt x="225" y="115"/>
                  <a:pt x="225" y="115"/>
                </a:cubicBezTo>
                <a:cubicBezTo>
                  <a:pt x="203" y="128"/>
                  <a:pt x="203" y="128"/>
                  <a:pt x="203" y="128"/>
                </a:cubicBezTo>
                <a:cubicBezTo>
                  <a:pt x="179" y="101"/>
                  <a:pt x="179" y="101"/>
                  <a:pt x="179" y="101"/>
                </a:cubicBezTo>
                <a:cubicBezTo>
                  <a:pt x="179" y="101"/>
                  <a:pt x="197" y="73"/>
                  <a:pt x="174" y="41"/>
                </a:cubicBezTo>
                <a:cubicBezTo>
                  <a:pt x="169" y="33"/>
                  <a:pt x="164" y="25"/>
                  <a:pt x="159" y="16"/>
                </a:cubicBezTo>
                <a:cubicBezTo>
                  <a:pt x="149" y="15"/>
                  <a:pt x="138" y="14"/>
                  <a:pt x="128" y="13"/>
                </a:cubicBezTo>
                <a:cubicBezTo>
                  <a:pt x="100" y="11"/>
                  <a:pt x="128" y="63"/>
                  <a:pt x="128" y="63"/>
                </a:cubicBezTo>
                <a:cubicBezTo>
                  <a:pt x="111" y="78"/>
                  <a:pt x="111" y="78"/>
                  <a:pt x="111" y="78"/>
                </a:cubicBezTo>
                <a:cubicBezTo>
                  <a:pt x="89" y="48"/>
                  <a:pt x="89" y="48"/>
                  <a:pt x="89" y="48"/>
                </a:cubicBezTo>
                <a:cubicBezTo>
                  <a:pt x="89" y="48"/>
                  <a:pt x="65" y="0"/>
                  <a:pt x="54" y="0"/>
                </a:cubicBezTo>
                <a:cubicBezTo>
                  <a:pt x="53" y="0"/>
                  <a:pt x="53" y="0"/>
                  <a:pt x="53" y="0"/>
                </a:cubicBezTo>
                <a:cubicBezTo>
                  <a:pt x="49" y="30"/>
                  <a:pt x="54" y="44"/>
                  <a:pt x="54" y="52"/>
                </a:cubicBezTo>
                <a:cubicBezTo>
                  <a:pt x="54" y="62"/>
                  <a:pt x="41" y="62"/>
                  <a:pt x="28" y="69"/>
                </a:cubicBezTo>
                <a:cubicBezTo>
                  <a:pt x="21" y="73"/>
                  <a:pt x="22" y="82"/>
                  <a:pt x="25" y="93"/>
                </a:cubicBezTo>
                <a:cubicBezTo>
                  <a:pt x="28" y="106"/>
                  <a:pt x="33" y="119"/>
                  <a:pt x="33" y="127"/>
                </a:cubicBezTo>
                <a:cubicBezTo>
                  <a:pt x="33" y="142"/>
                  <a:pt x="0" y="129"/>
                  <a:pt x="0" y="129"/>
                </a:cubicBezTo>
                <a:cubicBezTo>
                  <a:pt x="0" y="129"/>
                  <a:pt x="0" y="129"/>
                  <a:pt x="11" y="158"/>
                </a:cubicBezTo>
                <a:cubicBezTo>
                  <a:pt x="22" y="188"/>
                  <a:pt x="35" y="201"/>
                  <a:pt x="35" y="201"/>
                </a:cubicBezTo>
                <a:cubicBezTo>
                  <a:pt x="18" y="212"/>
                  <a:pt x="18" y="212"/>
                  <a:pt x="18" y="212"/>
                </a:cubicBezTo>
                <a:cubicBezTo>
                  <a:pt x="8" y="227"/>
                  <a:pt x="8" y="227"/>
                  <a:pt x="8" y="227"/>
                </a:cubicBezTo>
                <a:cubicBezTo>
                  <a:pt x="130" y="257"/>
                  <a:pt x="130" y="257"/>
                  <a:pt x="130" y="257"/>
                </a:cubicBezTo>
                <a:cubicBezTo>
                  <a:pt x="134" y="296"/>
                  <a:pt x="134" y="296"/>
                  <a:pt x="134" y="296"/>
                </a:cubicBezTo>
                <a:cubicBezTo>
                  <a:pt x="111" y="296"/>
                  <a:pt x="111" y="296"/>
                  <a:pt x="111" y="296"/>
                </a:cubicBezTo>
                <a:cubicBezTo>
                  <a:pt x="110" y="324"/>
                  <a:pt x="110" y="324"/>
                  <a:pt x="110" y="324"/>
                </a:cubicBezTo>
                <a:cubicBezTo>
                  <a:pt x="89" y="324"/>
                  <a:pt x="89" y="324"/>
                  <a:pt x="89" y="324"/>
                </a:cubicBezTo>
                <a:cubicBezTo>
                  <a:pt x="98" y="365"/>
                  <a:pt x="98" y="365"/>
                  <a:pt x="98" y="365"/>
                </a:cubicBezTo>
                <a:cubicBezTo>
                  <a:pt x="111" y="393"/>
                  <a:pt x="111" y="393"/>
                  <a:pt x="111" y="393"/>
                </a:cubicBezTo>
                <a:cubicBezTo>
                  <a:pt x="113" y="391"/>
                  <a:pt x="113" y="391"/>
                  <a:pt x="113" y="391"/>
                </a:cubicBezTo>
                <a:cubicBezTo>
                  <a:pt x="158" y="331"/>
                  <a:pt x="158" y="331"/>
                  <a:pt x="158" y="331"/>
                </a:cubicBezTo>
                <a:cubicBezTo>
                  <a:pt x="158" y="331"/>
                  <a:pt x="147" y="357"/>
                  <a:pt x="158" y="356"/>
                </a:cubicBezTo>
                <a:cubicBezTo>
                  <a:pt x="169" y="354"/>
                  <a:pt x="236" y="276"/>
                  <a:pt x="245" y="276"/>
                </a:cubicBezTo>
                <a:cubicBezTo>
                  <a:pt x="255" y="276"/>
                  <a:pt x="279" y="274"/>
                  <a:pt x="279" y="274"/>
                </a:cubicBezTo>
                <a:cubicBezTo>
                  <a:pt x="314" y="296"/>
                  <a:pt x="314" y="296"/>
                  <a:pt x="314" y="296"/>
                </a:cubicBezTo>
                <a:cubicBezTo>
                  <a:pt x="314" y="296"/>
                  <a:pt x="296" y="270"/>
                  <a:pt x="284" y="249"/>
                </a:cubicBez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22" name="Freeform 201"/>
          <p:cNvSpPr>
            <a:spLocks noEditPoints="1"/>
          </p:cNvSpPr>
          <p:nvPr/>
        </p:nvSpPr>
        <p:spPr bwMode="auto">
          <a:xfrm>
            <a:off x="349250" y="2257425"/>
            <a:ext cx="400050" cy="482600"/>
          </a:xfrm>
          <a:custGeom>
            <a:avLst/>
            <a:gdLst>
              <a:gd name="T0" fmla="*/ 224 w 346"/>
              <a:gd name="T1" fmla="*/ 411 h 418"/>
              <a:gd name="T2" fmla="*/ 241 w 346"/>
              <a:gd name="T3" fmla="*/ 384 h 418"/>
              <a:gd name="T4" fmla="*/ 224 w 346"/>
              <a:gd name="T5" fmla="*/ 411 h 418"/>
              <a:gd name="T6" fmla="*/ 303 w 346"/>
              <a:gd name="T7" fmla="*/ 36 h 418"/>
              <a:gd name="T8" fmla="*/ 278 w 346"/>
              <a:gd name="T9" fmla="*/ 1 h 418"/>
              <a:gd name="T10" fmla="*/ 243 w 346"/>
              <a:gd name="T11" fmla="*/ 26 h 418"/>
              <a:gd name="T12" fmla="*/ 242 w 346"/>
              <a:gd name="T13" fmla="*/ 6 h 418"/>
              <a:gd name="T14" fmla="*/ 143 w 346"/>
              <a:gd name="T15" fmla="*/ 59 h 418"/>
              <a:gd name="T16" fmla="*/ 130 w 346"/>
              <a:gd name="T17" fmla="*/ 94 h 418"/>
              <a:gd name="T18" fmla="*/ 87 w 346"/>
              <a:gd name="T19" fmla="*/ 115 h 418"/>
              <a:gd name="T20" fmla="*/ 61 w 346"/>
              <a:gd name="T21" fmla="*/ 148 h 418"/>
              <a:gd name="T22" fmla="*/ 36 w 346"/>
              <a:gd name="T23" fmla="*/ 148 h 418"/>
              <a:gd name="T24" fmla="*/ 17 w 346"/>
              <a:gd name="T25" fmla="*/ 158 h 418"/>
              <a:gd name="T26" fmla="*/ 25 w 346"/>
              <a:gd name="T27" fmla="*/ 163 h 418"/>
              <a:gd name="T28" fmla="*/ 21 w 346"/>
              <a:gd name="T29" fmla="*/ 202 h 418"/>
              <a:gd name="T30" fmla="*/ 23 w 346"/>
              <a:gd name="T31" fmla="*/ 280 h 418"/>
              <a:gd name="T32" fmla="*/ 0 w 346"/>
              <a:gd name="T33" fmla="*/ 286 h 418"/>
              <a:gd name="T34" fmla="*/ 36 w 346"/>
              <a:gd name="T35" fmla="*/ 298 h 418"/>
              <a:gd name="T36" fmla="*/ 41 w 346"/>
              <a:gd name="T37" fmla="*/ 293 h 418"/>
              <a:gd name="T38" fmla="*/ 90 w 346"/>
              <a:gd name="T39" fmla="*/ 268 h 418"/>
              <a:gd name="T40" fmla="*/ 75 w 346"/>
              <a:gd name="T41" fmla="*/ 255 h 418"/>
              <a:gd name="T42" fmla="*/ 74 w 346"/>
              <a:gd name="T43" fmla="*/ 209 h 418"/>
              <a:gd name="T44" fmla="*/ 133 w 346"/>
              <a:gd name="T45" fmla="*/ 171 h 418"/>
              <a:gd name="T46" fmla="*/ 151 w 346"/>
              <a:gd name="T47" fmla="*/ 206 h 418"/>
              <a:gd name="T48" fmla="*/ 166 w 346"/>
              <a:gd name="T49" fmla="*/ 229 h 418"/>
              <a:gd name="T50" fmla="*/ 166 w 346"/>
              <a:gd name="T51" fmla="*/ 258 h 418"/>
              <a:gd name="T52" fmla="*/ 138 w 346"/>
              <a:gd name="T53" fmla="*/ 265 h 418"/>
              <a:gd name="T54" fmla="*/ 118 w 346"/>
              <a:gd name="T55" fmla="*/ 227 h 418"/>
              <a:gd name="T56" fmla="*/ 113 w 346"/>
              <a:gd name="T57" fmla="*/ 268 h 418"/>
              <a:gd name="T58" fmla="*/ 136 w 346"/>
              <a:gd name="T59" fmla="*/ 293 h 418"/>
              <a:gd name="T60" fmla="*/ 173 w 346"/>
              <a:gd name="T61" fmla="*/ 282 h 418"/>
              <a:gd name="T62" fmla="*/ 196 w 346"/>
              <a:gd name="T63" fmla="*/ 272 h 418"/>
              <a:gd name="T64" fmla="*/ 199 w 346"/>
              <a:gd name="T65" fmla="*/ 250 h 418"/>
              <a:gd name="T66" fmla="*/ 237 w 346"/>
              <a:gd name="T67" fmla="*/ 244 h 418"/>
              <a:gd name="T68" fmla="*/ 240 w 346"/>
              <a:gd name="T69" fmla="*/ 193 h 418"/>
              <a:gd name="T70" fmla="*/ 189 w 346"/>
              <a:gd name="T71" fmla="*/ 186 h 418"/>
              <a:gd name="T72" fmla="*/ 169 w 346"/>
              <a:gd name="T73" fmla="*/ 185 h 418"/>
              <a:gd name="T74" fmla="*/ 166 w 346"/>
              <a:gd name="T75" fmla="*/ 193 h 418"/>
              <a:gd name="T76" fmla="*/ 169 w 346"/>
              <a:gd name="T77" fmla="*/ 185 h 418"/>
              <a:gd name="T78" fmla="*/ 176 w 346"/>
              <a:gd name="T79" fmla="*/ 171 h 418"/>
              <a:gd name="T80" fmla="*/ 178 w 346"/>
              <a:gd name="T81" fmla="*/ 140 h 418"/>
              <a:gd name="T82" fmla="*/ 227 w 346"/>
              <a:gd name="T83" fmla="*/ 140 h 418"/>
              <a:gd name="T84" fmla="*/ 276 w 346"/>
              <a:gd name="T85" fmla="*/ 140 h 418"/>
              <a:gd name="T86" fmla="*/ 283 w 346"/>
              <a:gd name="T87" fmla="*/ 89 h 418"/>
              <a:gd name="T88" fmla="*/ 331 w 346"/>
              <a:gd name="T89" fmla="*/ 87 h 418"/>
              <a:gd name="T90" fmla="*/ 346 w 346"/>
              <a:gd name="T91" fmla="*/ 62 h 418"/>
              <a:gd name="T92" fmla="*/ 303 w 346"/>
              <a:gd name="T93" fmla="*/ 36 h 418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346"/>
              <a:gd name="T142" fmla="*/ 0 h 418"/>
              <a:gd name="T143" fmla="*/ 346 w 346"/>
              <a:gd name="T144" fmla="*/ 418 h 418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346" h="418">
                <a:moveTo>
                  <a:pt x="224" y="411"/>
                </a:moveTo>
                <a:cubicBezTo>
                  <a:pt x="235" y="418"/>
                  <a:pt x="241" y="384"/>
                  <a:pt x="241" y="384"/>
                </a:cubicBezTo>
                <a:cubicBezTo>
                  <a:pt x="231" y="384"/>
                  <a:pt x="213" y="403"/>
                  <a:pt x="224" y="411"/>
                </a:cubicBezTo>
                <a:close/>
                <a:moveTo>
                  <a:pt x="303" y="36"/>
                </a:moveTo>
                <a:cubicBezTo>
                  <a:pt x="285" y="33"/>
                  <a:pt x="290" y="3"/>
                  <a:pt x="278" y="1"/>
                </a:cubicBezTo>
                <a:cubicBezTo>
                  <a:pt x="267" y="0"/>
                  <a:pt x="243" y="26"/>
                  <a:pt x="243" y="26"/>
                </a:cubicBezTo>
                <a:cubicBezTo>
                  <a:pt x="242" y="6"/>
                  <a:pt x="242" y="6"/>
                  <a:pt x="242" y="6"/>
                </a:cubicBezTo>
                <a:cubicBezTo>
                  <a:pt x="242" y="6"/>
                  <a:pt x="161" y="44"/>
                  <a:pt x="143" y="59"/>
                </a:cubicBezTo>
                <a:cubicBezTo>
                  <a:pt x="125" y="74"/>
                  <a:pt x="135" y="81"/>
                  <a:pt x="130" y="94"/>
                </a:cubicBezTo>
                <a:cubicBezTo>
                  <a:pt x="125" y="107"/>
                  <a:pt x="95" y="105"/>
                  <a:pt x="87" y="115"/>
                </a:cubicBezTo>
                <a:cubicBezTo>
                  <a:pt x="79" y="125"/>
                  <a:pt x="61" y="148"/>
                  <a:pt x="61" y="148"/>
                </a:cubicBezTo>
                <a:cubicBezTo>
                  <a:pt x="36" y="148"/>
                  <a:pt x="36" y="148"/>
                  <a:pt x="36" y="148"/>
                </a:cubicBezTo>
                <a:cubicBezTo>
                  <a:pt x="17" y="158"/>
                  <a:pt x="17" y="158"/>
                  <a:pt x="17" y="158"/>
                </a:cubicBezTo>
                <a:cubicBezTo>
                  <a:pt x="25" y="163"/>
                  <a:pt x="25" y="163"/>
                  <a:pt x="25" y="163"/>
                </a:cubicBezTo>
                <a:cubicBezTo>
                  <a:pt x="21" y="202"/>
                  <a:pt x="21" y="202"/>
                  <a:pt x="21" y="202"/>
                </a:cubicBezTo>
                <a:cubicBezTo>
                  <a:pt x="23" y="280"/>
                  <a:pt x="23" y="280"/>
                  <a:pt x="23" y="280"/>
                </a:cubicBezTo>
                <a:cubicBezTo>
                  <a:pt x="16" y="281"/>
                  <a:pt x="8" y="283"/>
                  <a:pt x="0" y="286"/>
                </a:cubicBezTo>
                <a:cubicBezTo>
                  <a:pt x="17" y="299"/>
                  <a:pt x="36" y="300"/>
                  <a:pt x="36" y="298"/>
                </a:cubicBezTo>
                <a:cubicBezTo>
                  <a:pt x="36" y="297"/>
                  <a:pt x="38" y="295"/>
                  <a:pt x="41" y="293"/>
                </a:cubicBezTo>
                <a:cubicBezTo>
                  <a:pt x="53" y="284"/>
                  <a:pt x="85" y="268"/>
                  <a:pt x="90" y="268"/>
                </a:cubicBezTo>
                <a:cubicBezTo>
                  <a:pt x="97" y="268"/>
                  <a:pt x="75" y="255"/>
                  <a:pt x="75" y="255"/>
                </a:cubicBezTo>
                <a:cubicBezTo>
                  <a:pt x="74" y="209"/>
                  <a:pt x="74" y="209"/>
                  <a:pt x="74" y="209"/>
                </a:cubicBezTo>
                <a:cubicBezTo>
                  <a:pt x="74" y="209"/>
                  <a:pt x="102" y="188"/>
                  <a:pt x="133" y="171"/>
                </a:cubicBezTo>
                <a:cubicBezTo>
                  <a:pt x="164" y="155"/>
                  <a:pt x="140" y="194"/>
                  <a:pt x="151" y="206"/>
                </a:cubicBezTo>
                <a:cubicBezTo>
                  <a:pt x="163" y="217"/>
                  <a:pt x="179" y="222"/>
                  <a:pt x="166" y="229"/>
                </a:cubicBezTo>
                <a:cubicBezTo>
                  <a:pt x="153" y="235"/>
                  <a:pt x="166" y="252"/>
                  <a:pt x="166" y="258"/>
                </a:cubicBezTo>
                <a:cubicBezTo>
                  <a:pt x="166" y="265"/>
                  <a:pt x="138" y="265"/>
                  <a:pt x="138" y="265"/>
                </a:cubicBezTo>
                <a:cubicBezTo>
                  <a:pt x="118" y="227"/>
                  <a:pt x="118" y="227"/>
                  <a:pt x="118" y="227"/>
                </a:cubicBezTo>
                <a:cubicBezTo>
                  <a:pt x="113" y="268"/>
                  <a:pt x="113" y="268"/>
                  <a:pt x="113" y="268"/>
                </a:cubicBezTo>
                <a:cubicBezTo>
                  <a:pt x="113" y="268"/>
                  <a:pt x="131" y="293"/>
                  <a:pt x="136" y="293"/>
                </a:cubicBezTo>
                <a:cubicBezTo>
                  <a:pt x="141" y="293"/>
                  <a:pt x="168" y="288"/>
                  <a:pt x="173" y="282"/>
                </a:cubicBezTo>
                <a:cubicBezTo>
                  <a:pt x="178" y="275"/>
                  <a:pt x="196" y="272"/>
                  <a:pt x="196" y="272"/>
                </a:cubicBezTo>
                <a:cubicBezTo>
                  <a:pt x="199" y="250"/>
                  <a:pt x="199" y="250"/>
                  <a:pt x="199" y="250"/>
                </a:cubicBezTo>
                <a:cubicBezTo>
                  <a:pt x="199" y="250"/>
                  <a:pt x="232" y="245"/>
                  <a:pt x="237" y="244"/>
                </a:cubicBezTo>
                <a:cubicBezTo>
                  <a:pt x="242" y="242"/>
                  <a:pt x="240" y="193"/>
                  <a:pt x="240" y="193"/>
                </a:cubicBezTo>
                <a:cubicBezTo>
                  <a:pt x="240" y="193"/>
                  <a:pt x="214" y="194"/>
                  <a:pt x="189" y="186"/>
                </a:cubicBezTo>
                <a:cubicBezTo>
                  <a:pt x="178" y="182"/>
                  <a:pt x="172" y="183"/>
                  <a:pt x="169" y="185"/>
                </a:cubicBezTo>
                <a:cubicBezTo>
                  <a:pt x="166" y="193"/>
                  <a:pt x="166" y="193"/>
                  <a:pt x="166" y="193"/>
                </a:cubicBezTo>
                <a:cubicBezTo>
                  <a:pt x="166" y="193"/>
                  <a:pt x="166" y="188"/>
                  <a:pt x="169" y="185"/>
                </a:cubicBezTo>
                <a:cubicBezTo>
                  <a:pt x="176" y="171"/>
                  <a:pt x="176" y="171"/>
                  <a:pt x="176" y="171"/>
                </a:cubicBezTo>
                <a:cubicBezTo>
                  <a:pt x="178" y="140"/>
                  <a:pt x="178" y="140"/>
                  <a:pt x="178" y="140"/>
                </a:cubicBezTo>
                <a:cubicBezTo>
                  <a:pt x="227" y="140"/>
                  <a:pt x="227" y="140"/>
                  <a:pt x="227" y="140"/>
                </a:cubicBezTo>
                <a:cubicBezTo>
                  <a:pt x="227" y="140"/>
                  <a:pt x="270" y="151"/>
                  <a:pt x="276" y="140"/>
                </a:cubicBezTo>
                <a:cubicBezTo>
                  <a:pt x="283" y="128"/>
                  <a:pt x="283" y="89"/>
                  <a:pt x="283" y="89"/>
                </a:cubicBezTo>
                <a:cubicBezTo>
                  <a:pt x="331" y="87"/>
                  <a:pt x="331" y="87"/>
                  <a:pt x="331" y="87"/>
                </a:cubicBezTo>
                <a:cubicBezTo>
                  <a:pt x="346" y="62"/>
                  <a:pt x="346" y="62"/>
                  <a:pt x="346" y="62"/>
                </a:cubicBezTo>
                <a:cubicBezTo>
                  <a:pt x="346" y="62"/>
                  <a:pt x="321" y="39"/>
                  <a:pt x="303" y="36"/>
                </a:cubicBez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23" name="Freeform 202"/>
          <p:cNvSpPr>
            <a:spLocks/>
          </p:cNvSpPr>
          <p:nvPr/>
        </p:nvSpPr>
        <p:spPr bwMode="auto">
          <a:xfrm>
            <a:off x="211138" y="3244850"/>
            <a:ext cx="887412" cy="1190625"/>
          </a:xfrm>
          <a:custGeom>
            <a:avLst/>
            <a:gdLst>
              <a:gd name="T0" fmla="*/ 145 w 768"/>
              <a:gd name="T1" fmla="*/ 652 h 1031"/>
              <a:gd name="T2" fmla="*/ 184 w 768"/>
              <a:gd name="T3" fmla="*/ 702 h 1031"/>
              <a:gd name="T4" fmla="*/ 240 w 768"/>
              <a:gd name="T5" fmla="*/ 668 h 1031"/>
              <a:gd name="T6" fmla="*/ 204 w 768"/>
              <a:gd name="T7" fmla="*/ 717 h 1031"/>
              <a:gd name="T8" fmla="*/ 191 w 768"/>
              <a:gd name="T9" fmla="*/ 724 h 1031"/>
              <a:gd name="T10" fmla="*/ 234 w 768"/>
              <a:gd name="T11" fmla="*/ 802 h 1031"/>
              <a:gd name="T12" fmla="*/ 221 w 768"/>
              <a:gd name="T13" fmla="*/ 838 h 1031"/>
              <a:gd name="T14" fmla="*/ 161 w 768"/>
              <a:gd name="T15" fmla="*/ 879 h 1031"/>
              <a:gd name="T16" fmla="*/ 163 w 768"/>
              <a:gd name="T17" fmla="*/ 964 h 1031"/>
              <a:gd name="T18" fmla="*/ 268 w 768"/>
              <a:gd name="T19" fmla="*/ 981 h 1031"/>
              <a:gd name="T20" fmla="*/ 305 w 768"/>
              <a:gd name="T21" fmla="*/ 1031 h 1031"/>
              <a:gd name="T22" fmla="*/ 264 w 768"/>
              <a:gd name="T23" fmla="*/ 959 h 1031"/>
              <a:gd name="T24" fmla="*/ 251 w 768"/>
              <a:gd name="T25" fmla="*/ 829 h 1031"/>
              <a:gd name="T26" fmla="*/ 344 w 768"/>
              <a:gd name="T27" fmla="*/ 875 h 1031"/>
              <a:gd name="T28" fmla="*/ 387 w 768"/>
              <a:gd name="T29" fmla="*/ 892 h 1031"/>
              <a:gd name="T30" fmla="*/ 431 w 768"/>
              <a:gd name="T31" fmla="*/ 922 h 1031"/>
              <a:gd name="T32" fmla="*/ 509 w 768"/>
              <a:gd name="T33" fmla="*/ 951 h 1031"/>
              <a:gd name="T34" fmla="*/ 565 w 768"/>
              <a:gd name="T35" fmla="*/ 946 h 1031"/>
              <a:gd name="T36" fmla="*/ 612 w 768"/>
              <a:gd name="T37" fmla="*/ 951 h 1031"/>
              <a:gd name="T38" fmla="*/ 689 w 768"/>
              <a:gd name="T39" fmla="*/ 967 h 1031"/>
              <a:gd name="T40" fmla="*/ 724 w 768"/>
              <a:gd name="T41" fmla="*/ 922 h 1031"/>
              <a:gd name="T42" fmla="*/ 766 w 768"/>
              <a:gd name="T43" fmla="*/ 891 h 1031"/>
              <a:gd name="T44" fmla="*/ 741 w 768"/>
              <a:gd name="T45" fmla="*/ 807 h 1031"/>
              <a:gd name="T46" fmla="*/ 704 w 768"/>
              <a:gd name="T47" fmla="*/ 699 h 1031"/>
              <a:gd name="T48" fmla="*/ 647 w 768"/>
              <a:gd name="T49" fmla="*/ 640 h 1031"/>
              <a:gd name="T50" fmla="*/ 647 w 768"/>
              <a:gd name="T51" fmla="*/ 587 h 1031"/>
              <a:gd name="T52" fmla="*/ 623 w 768"/>
              <a:gd name="T53" fmla="*/ 503 h 1031"/>
              <a:gd name="T54" fmla="*/ 676 w 768"/>
              <a:gd name="T55" fmla="*/ 480 h 1031"/>
              <a:gd name="T56" fmla="*/ 686 w 768"/>
              <a:gd name="T57" fmla="*/ 413 h 1031"/>
              <a:gd name="T58" fmla="*/ 631 w 768"/>
              <a:gd name="T59" fmla="*/ 362 h 1031"/>
              <a:gd name="T60" fmla="*/ 591 w 768"/>
              <a:gd name="T61" fmla="*/ 348 h 1031"/>
              <a:gd name="T62" fmla="*/ 556 w 768"/>
              <a:gd name="T63" fmla="*/ 319 h 1031"/>
              <a:gd name="T64" fmla="*/ 469 w 768"/>
              <a:gd name="T65" fmla="*/ 345 h 1031"/>
              <a:gd name="T66" fmla="*/ 437 w 768"/>
              <a:gd name="T67" fmla="*/ 285 h 1031"/>
              <a:gd name="T68" fmla="*/ 420 w 768"/>
              <a:gd name="T69" fmla="*/ 259 h 1031"/>
              <a:gd name="T70" fmla="*/ 381 w 768"/>
              <a:gd name="T71" fmla="*/ 179 h 1031"/>
              <a:gd name="T72" fmla="*/ 286 w 768"/>
              <a:gd name="T73" fmla="*/ 26 h 1031"/>
              <a:gd name="T74" fmla="*/ 243 w 768"/>
              <a:gd name="T75" fmla="*/ 0 h 1031"/>
              <a:gd name="T76" fmla="*/ 171 w 768"/>
              <a:gd name="T77" fmla="*/ 82 h 1031"/>
              <a:gd name="T78" fmla="*/ 50 w 768"/>
              <a:gd name="T79" fmla="*/ 67 h 1031"/>
              <a:gd name="T80" fmla="*/ 0 w 768"/>
              <a:gd name="T81" fmla="*/ 99 h 1031"/>
              <a:gd name="T82" fmla="*/ 29 w 768"/>
              <a:gd name="T83" fmla="*/ 646 h 1031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768"/>
              <a:gd name="T127" fmla="*/ 0 h 1031"/>
              <a:gd name="T128" fmla="*/ 768 w 768"/>
              <a:gd name="T129" fmla="*/ 1031 h 1031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768" h="1031">
                <a:moveTo>
                  <a:pt x="48" y="661"/>
                </a:moveTo>
                <a:cubicBezTo>
                  <a:pt x="72" y="661"/>
                  <a:pt x="145" y="652"/>
                  <a:pt x="145" y="652"/>
                </a:cubicBezTo>
                <a:cubicBezTo>
                  <a:pt x="191" y="680"/>
                  <a:pt x="191" y="680"/>
                  <a:pt x="191" y="680"/>
                </a:cubicBezTo>
                <a:cubicBezTo>
                  <a:pt x="184" y="702"/>
                  <a:pt x="184" y="702"/>
                  <a:pt x="184" y="702"/>
                </a:cubicBezTo>
                <a:cubicBezTo>
                  <a:pt x="184" y="702"/>
                  <a:pt x="213" y="688"/>
                  <a:pt x="229" y="678"/>
                </a:cubicBezTo>
                <a:cubicBezTo>
                  <a:pt x="234" y="672"/>
                  <a:pt x="238" y="667"/>
                  <a:pt x="240" y="668"/>
                </a:cubicBezTo>
                <a:cubicBezTo>
                  <a:pt x="241" y="670"/>
                  <a:pt x="236" y="673"/>
                  <a:pt x="229" y="678"/>
                </a:cubicBezTo>
                <a:cubicBezTo>
                  <a:pt x="218" y="692"/>
                  <a:pt x="204" y="717"/>
                  <a:pt x="204" y="717"/>
                </a:cubicBezTo>
                <a:cubicBezTo>
                  <a:pt x="225" y="737"/>
                  <a:pt x="225" y="737"/>
                  <a:pt x="225" y="737"/>
                </a:cubicBezTo>
                <a:cubicBezTo>
                  <a:pt x="191" y="724"/>
                  <a:pt x="191" y="724"/>
                  <a:pt x="191" y="724"/>
                </a:cubicBezTo>
                <a:cubicBezTo>
                  <a:pt x="191" y="724"/>
                  <a:pt x="191" y="748"/>
                  <a:pt x="193" y="763"/>
                </a:cubicBezTo>
                <a:cubicBezTo>
                  <a:pt x="195" y="778"/>
                  <a:pt x="234" y="802"/>
                  <a:pt x="234" y="802"/>
                </a:cubicBezTo>
                <a:cubicBezTo>
                  <a:pt x="241" y="823"/>
                  <a:pt x="241" y="823"/>
                  <a:pt x="241" y="823"/>
                </a:cubicBezTo>
                <a:cubicBezTo>
                  <a:pt x="221" y="838"/>
                  <a:pt x="221" y="838"/>
                  <a:pt x="221" y="838"/>
                </a:cubicBezTo>
                <a:cubicBezTo>
                  <a:pt x="148" y="814"/>
                  <a:pt x="148" y="814"/>
                  <a:pt x="148" y="814"/>
                </a:cubicBezTo>
                <a:cubicBezTo>
                  <a:pt x="148" y="814"/>
                  <a:pt x="161" y="866"/>
                  <a:pt x="161" y="879"/>
                </a:cubicBezTo>
                <a:cubicBezTo>
                  <a:pt x="161" y="892"/>
                  <a:pt x="132" y="903"/>
                  <a:pt x="130" y="918"/>
                </a:cubicBezTo>
                <a:cubicBezTo>
                  <a:pt x="128" y="933"/>
                  <a:pt x="158" y="964"/>
                  <a:pt x="163" y="964"/>
                </a:cubicBezTo>
                <a:cubicBezTo>
                  <a:pt x="169" y="964"/>
                  <a:pt x="206" y="987"/>
                  <a:pt x="234" y="987"/>
                </a:cubicBezTo>
                <a:cubicBezTo>
                  <a:pt x="262" y="987"/>
                  <a:pt x="268" y="981"/>
                  <a:pt x="268" y="981"/>
                </a:cubicBezTo>
                <a:cubicBezTo>
                  <a:pt x="277" y="1015"/>
                  <a:pt x="277" y="1015"/>
                  <a:pt x="277" y="1015"/>
                </a:cubicBezTo>
                <a:cubicBezTo>
                  <a:pt x="305" y="1031"/>
                  <a:pt x="305" y="1031"/>
                  <a:pt x="305" y="1031"/>
                </a:cubicBezTo>
                <a:cubicBezTo>
                  <a:pt x="325" y="1002"/>
                  <a:pt x="325" y="1002"/>
                  <a:pt x="325" y="1002"/>
                </a:cubicBezTo>
                <a:cubicBezTo>
                  <a:pt x="325" y="1002"/>
                  <a:pt x="269" y="976"/>
                  <a:pt x="264" y="959"/>
                </a:cubicBezTo>
                <a:cubicBezTo>
                  <a:pt x="258" y="942"/>
                  <a:pt x="271" y="929"/>
                  <a:pt x="269" y="909"/>
                </a:cubicBezTo>
                <a:cubicBezTo>
                  <a:pt x="268" y="888"/>
                  <a:pt x="234" y="808"/>
                  <a:pt x="251" y="829"/>
                </a:cubicBezTo>
                <a:cubicBezTo>
                  <a:pt x="268" y="849"/>
                  <a:pt x="255" y="862"/>
                  <a:pt x="286" y="873"/>
                </a:cubicBezTo>
                <a:cubicBezTo>
                  <a:pt x="318" y="884"/>
                  <a:pt x="344" y="875"/>
                  <a:pt x="344" y="875"/>
                </a:cubicBezTo>
                <a:cubicBezTo>
                  <a:pt x="333" y="892"/>
                  <a:pt x="333" y="892"/>
                  <a:pt x="333" y="892"/>
                </a:cubicBezTo>
                <a:cubicBezTo>
                  <a:pt x="333" y="892"/>
                  <a:pt x="372" y="877"/>
                  <a:pt x="387" y="892"/>
                </a:cubicBezTo>
                <a:cubicBezTo>
                  <a:pt x="402" y="907"/>
                  <a:pt x="405" y="918"/>
                  <a:pt x="405" y="918"/>
                </a:cubicBezTo>
                <a:cubicBezTo>
                  <a:pt x="405" y="918"/>
                  <a:pt x="429" y="910"/>
                  <a:pt x="431" y="922"/>
                </a:cubicBezTo>
                <a:cubicBezTo>
                  <a:pt x="433" y="933"/>
                  <a:pt x="469" y="940"/>
                  <a:pt x="469" y="940"/>
                </a:cubicBezTo>
                <a:cubicBezTo>
                  <a:pt x="509" y="951"/>
                  <a:pt x="509" y="951"/>
                  <a:pt x="509" y="951"/>
                </a:cubicBezTo>
                <a:cubicBezTo>
                  <a:pt x="543" y="963"/>
                  <a:pt x="543" y="963"/>
                  <a:pt x="543" y="963"/>
                </a:cubicBezTo>
                <a:cubicBezTo>
                  <a:pt x="565" y="946"/>
                  <a:pt x="565" y="946"/>
                  <a:pt x="565" y="946"/>
                </a:cubicBezTo>
                <a:cubicBezTo>
                  <a:pt x="587" y="951"/>
                  <a:pt x="587" y="951"/>
                  <a:pt x="587" y="951"/>
                </a:cubicBezTo>
                <a:cubicBezTo>
                  <a:pt x="612" y="951"/>
                  <a:pt x="612" y="951"/>
                  <a:pt x="612" y="951"/>
                </a:cubicBezTo>
                <a:cubicBezTo>
                  <a:pt x="652" y="984"/>
                  <a:pt x="652" y="984"/>
                  <a:pt x="652" y="984"/>
                </a:cubicBezTo>
                <a:cubicBezTo>
                  <a:pt x="689" y="967"/>
                  <a:pt x="689" y="967"/>
                  <a:pt x="689" y="967"/>
                </a:cubicBezTo>
                <a:cubicBezTo>
                  <a:pt x="696" y="931"/>
                  <a:pt x="696" y="931"/>
                  <a:pt x="696" y="931"/>
                </a:cubicBezTo>
                <a:cubicBezTo>
                  <a:pt x="696" y="931"/>
                  <a:pt x="715" y="917"/>
                  <a:pt x="724" y="922"/>
                </a:cubicBezTo>
                <a:cubicBezTo>
                  <a:pt x="733" y="927"/>
                  <a:pt x="710" y="905"/>
                  <a:pt x="727" y="905"/>
                </a:cubicBezTo>
                <a:cubicBezTo>
                  <a:pt x="744" y="905"/>
                  <a:pt x="764" y="912"/>
                  <a:pt x="766" y="891"/>
                </a:cubicBezTo>
                <a:cubicBezTo>
                  <a:pt x="768" y="870"/>
                  <a:pt x="762" y="874"/>
                  <a:pt x="759" y="855"/>
                </a:cubicBezTo>
                <a:cubicBezTo>
                  <a:pt x="755" y="837"/>
                  <a:pt x="754" y="826"/>
                  <a:pt x="741" y="807"/>
                </a:cubicBezTo>
                <a:cubicBezTo>
                  <a:pt x="729" y="788"/>
                  <a:pt x="699" y="766"/>
                  <a:pt x="704" y="741"/>
                </a:cubicBezTo>
                <a:cubicBezTo>
                  <a:pt x="710" y="717"/>
                  <a:pt x="711" y="709"/>
                  <a:pt x="704" y="699"/>
                </a:cubicBezTo>
                <a:cubicBezTo>
                  <a:pt x="696" y="689"/>
                  <a:pt x="656" y="696"/>
                  <a:pt x="652" y="674"/>
                </a:cubicBezTo>
                <a:cubicBezTo>
                  <a:pt x="649" y="652"/>
                  <a:pt x="650" y="641"/>
                  <a:pt x="647" y="640"/>
                </a:cubicBezTo>
                <a:cubicBezTo>
                  <a:pt x="644" y="638"/>
                  <a:pt x="621" y="646"/>
                  <a:pt x="625" y="627"/>
                </a:cubicBezTo>
                <a:cubicBezTo>
                  <a:pt x="629" y="609"/>
                  <a:pt x="639" y="603"/>
                  <a:pt x="647" y="587"/>
                </a:cubicBezTo>
                <a:cubicBezTo>
                  <a:pt x="654" y="571"/>
                  <a:pt x="639" y="525"/>
                  <a:pt x="638" y="523"/>
                </a:cubicBezTo>
                <a:cubicBezTo>
                  <a:pt x="637" y="521"/>
                  <a:pt x="623" y="503"/>
                  <a:pt x="623" y="503"/>
                </a:cubicBezTo>
                <a:cubicBezTo>
                  <a:pt x="657" y="479"/>
                  <a:pt x="657" y="479"/>
                  <a:pt x="657" y="479"/>
                </a:cubicBezTo>
                <a:cubicBezTo>
                  <a:pt x="657" y="479"/>
                  <a:pt x="676" y="484"/>
                  <a:pt x="676" y="480"/>
                </a:cubicBezTo>
                <a:cubicBezTo>
                  <a:pt x="676" y="476"/>
                  <a:pt x="669" y="462"/>
                  <a:pt x="679" y="447"/>
                </a:cubicBezTo>
                <a:cubicBezTo>
                  <a:pt x="688" y="431"/>
                  <a:pt x="686" y="413"/>
                  <a:pt x="686" y="413"/>
                </a:cubicBezTo>
                <a:cubicBezTo>
                  <a:pt x="686" y="413"/>
                  <a:pt x="641" y="420"/>
                  <a:pt x="637" y="404"/>
                </a:cubicBezTo>
                <a:cubicBezTo>
                  <a:pt x="633" y="388"/>
                  <a:pt x="631" y="362"/>
                  <a:pt x="631" y="362"/>
                </a:cubicBezTo>
                <a:cubicBezTo>
                  <a:pt x="596" y="366"/>
                  <a:pt x="596" y="366"/>
                  <a:pt x="596" y="366"/>
                </a:cubicBezTo>
                <a:cubicBezTo>
                  <a:pt x="591" y="348"/>
                  <a:pt x="591" y="348"/>
                  <a:pt x="591" y="348"/>
                </a:cubicBezTo>
                <a:cubicBezTo>
                  <a:pt x="590" y="348"/>
                  <a:pt x="589" y="348"/>
                  <a:pt x="589" y="348"/>
                </a:cubicBezTo>
                <a:cubicBezTo>
                  <a:pt x="556" y="319"/>
                  <a:pt x="556" y="319"/>
                  <a:pt x="556" y="319"/>
                </a:cubicBezTo>
                <a:cubicBezTo>
                  <a:pt x="517" y="320"/>
                  <a:pt x="517" y="320"/>
                  <a:pt x="517" y="320"/>
                </a:cubicBezTo>
                <a:cubicBezTo>
                  <a:pt x="469" y="345"/>
                  <a:pt x="469" y="345"/>
                  <a:pt x="469" y="345"/>
                </a:cubicBezTo>
                <a:cubicBezTo>
                  <a:pt x="472" y="315"/>
                  <a:pt x="472" y="315"/>
                  <a:pt x="472" y="315"/>
                </a:cubicBezTo>
                <a:cubicBezTo>
                  <a:pt x="437" y="285"/>
                  <a:pt x="437" y="285"/>
                  <a:pt x="437" y="285"/>
                </a:cubicBezTo>
                <a:cubicBezTo>
                  <a:pt x="452" y="259"/>
                  <a:pt x="452" y="259"/>
                  <a:pt x="452" y="259"/>
                </a:cubicBezTo>
                <a:cubicBezTo>
                  <a:pt x="420" y="259"/>
                  <a:pt x="420" y="259"/>
                  <a:pt x="420" y="259"/>
                </a:cubicBezTo>
                <a:cubicBezTo>
                  <a:pt x="420" y="259"/>
                  <a:pt x="426" y="237"/>
                  <a:pt x="409" y="224"/>
                </a:cubicBezTo>
                <a:cubicBezTo>
                  <a:pt x="392" y="211"/>
                  <a:pt x="381" y="190"/>
                  <a:pt x="381" y="179"/>
                </a:cubicBezTo>
                <a:cubicBezTo>
                  <a:pt x="381" y="168"/>
                  <a:pt x="355" y="105"/>
                  <a:pt x="335" y="79"/>
                </a:cubicBezTo>
                <a:cubicBezTo>
                  <a:pt x="314" y="52"/>
                  <a:pt x="286" y="26"/>
                  <a:pt x="286" y="26"/>
                </a:cubicBezTo>
                <a:cubicBezTo>
                  <a:pt x="256" y="17"/>
                  <a:pt x="256" y="17"/>
                  <a:pt x="256" y="17"/>
                </a:cubicBezTo>
                <a:cubicBezTo>
                  <a:pt x="243" y="0"/>
                  <a:pt x="243" y="0"/>
                  <a:pt x="243" y="0"/>
                </a:cubicBezTo>
                <a:cubicBezTo>
                  <a:pt x="238" y="0"/>
                  <a:pt x="238" y="0"/>
                  <a:pt x="238" y="0"/>
                </a:cubicBezTo>
                <a:cubicBezTo>
                  <a:pt x="238" y="0"/>
                  <a:pt x="178" y="82"/>
                  <a:pt x="171" y="82"/>
                </a:cubicBezTo>
                <a:cubicBezTo>
                  <a:pt x="163" y="82"/>
                  <a:pt x="145" y="67"/>
                  <a:pt x="145" y="67"/>
                </a:cubicBezTo>
                <a:cubicBezTo>
                  <a:pt x="50" y="67"/>
                  <a:pt x="50" y="67"/>
                  <a:pt x="50" y="67"/>
                </a:cubicBezTo>
                <a:cubicBezTo>
                  <a:pt x="13" y="105"/>
                  <a:pt x="13" y="105"/>
                  <a:pt x="13" y="105"/>
                </a:cubicBezTo>
                <a:cubicBezTo>
                  <a:pt x="0" y="99"/>
                  <a:pt x="0" y="99"/>
                  <a:pt x="0" y="99"/>
                </a:cubicBezTo>
                <a:cubicBezTo>
                  <a:pt x="0" y="655"/>
                  <a:pt x="0" y="655"/>
                  <a:pt x="0" y="655"/>
                </a:cubicBezTo>
                <a:cubicBezTo>
                  <a:pt x="29" y="646"/>
                  <a:pt x="29" y="646"/>
                  <a:pt x="29" y="646"/>
                </a:cubicBezTo>
                <a:cubicBezTo>
                  <a:pt x="29" y="646"/>
                  <a:pt x="24" y="661"/>
                  <a:pt x="48" y="661"/>
                </a:cubicBez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24" name="Freeform 203"/>
          <p:cNvSpPr>
            <a:spLocks/>
          </p:cNvSpPr>
          <p:nvPr/>
        </p:nvSpPr>
        <p:spPr bwMode="auto">
          <a:xfrm>
            <a:off x="350838" y="5346700"/>
            <a:ext cx="679450" cy="668338"/>
          </a:xfrm>
          <a:custGeom>
            <a:avLst/>
            <a:gdLst>
              <a:gd name="T0" fmla="*/ 558 w 588"/>
              <a:gd name="T1" fmla="*/ 546 h 578"/>
              <a:gd name="T2" fmla="*/ 515 w 588"/>
              <a:gd name="T3" fmla="*/ 438 h 578"/>
              <a:gd name="T4" fmla="*/ 457 w 588"/>
              <a:gd name="T5" fmla="*/ 367 h 578"/>
              <a:gd name="T6" fmla="*/ 478 w 588"/>
              <a:gd name="T7" fmla="*/ 302 h 578"/>
              <a:gd name="T8" fmla="*/ 485 w 588"/>
              <a:gd name="T9" fmla="*/ 289 h 578"/>
              <a:gd name="T10" fmla="*/ 483 w 588"/>
              <a:gd name="T11" fmla="*/ 291 h 578"/>
              <a:gd name="T12" fmla="*/ 470 w 588"/>
              <a:gd name="T13" fmla="*/ 263 h 578"/>
              <a:gd name="T14" fmla="*/ 461 w 588"/>
              <a:gd name="T15" fmla="*/ 222 h 578"/>
              <a:gd name="T16" fmla="*/ 482 w 588"/>
              <a:gd name="T17" fmla="*/ 222 h 578"/>
              <a:gd name="T18" fmla="*/ 483 w 588"/>
              <a:gd name="T19" fmla="*/ 194 h 578"/>
              <a:gd name="T20" fmla="*/ 506 w 588"/>
              <a:gd name="T21" fmla="*/ 194 h 578"/>
              <a:gd name="T22" fmla="*/ 502 w 588"/>
              <a:gd name="T23" fmla="*/ 155 h 578"/>
              <a:gd name="T24" fmla="*/ 380 w 588"/>
              <a:gd name="T25" fmla="*/ 125 h 578"/>
              <a:gd name="T26" fmla="*/ 361 w 588"/>
              <a:gd name="T27" fmla="*/ 153 h 578"/>
              <a:gd name="T28" fmla="*/ 308 w 588"/>
              <a:gd name="T29" fmla="*/ 120 h 578"/>
              <a:gd name="T30" fmla="*/ 299 w 588"/>
              <a:gd name="T31" fmla="*/ 30 h 578"/>
              <a:gd name="T32" fmla="*/ 291 w 588"/>
              <a:gd name="T33" fmla="*/ 2 h 578"/>
              <a:gd name="T34" fmla="*/ 262 w 588"/>
              <a:gd name="T35" fmla="*/ 10 h 578"/>
              <a:gd name="T36" fmla="*/ 245 w 588"/>
              <a:gd name="T37" fmla="*/ 0 h 578"/>
              <a:gd name="T38" fmla="*/ 219 w 588"/>
              <a:gd name="T39" fmla="*/ 49 h 578"/>
              <a:gd name="T40" fmla="*/ 202 w 588"/>
              <a:gd name="T41" fmla="*/ 107 h 578"/>
              <a:gd name="T42" fmla="*/ 161 w 588"/>
              <a:gd name="T43" fmla="*/ 129 h 578"/>
              <a:gd name="T44" fmla="*/ 173 w 588"/>
              <a:gd name="T45" fmla="*/ 161 h 578"/>
              <a:gd name="T46" fmla="*/ 154 w 588"/>
              <a:gd name="T47" fmla="*/ 177 h 578"/>
              <a:gd name="T48" fmla="*/ 150 w 588"/>
              <a:gd name="T49" fmla="*/ 205 h 578"/>
              <a:gd name="T50" fmla="*/ 148 w 588"/>
              <a:gd name="T51" fmla="*/ 228 h 578"/>
              <a:gd name="T52" fmla="*/ 128 w 588"/>
              <a:gd name="T53" fmla="*/ 259 h 578"/>
              <a:gd name="T54" fmla="*/ 134 w 588"/>
              <a:gd name="T55" fmla="*/ 295 h 578"/>
              <a:gd name="T56" fmla="*/ 119 w 588"/>
              <a:gd name="T57" fmla="*/ 317 h 578"/>
              <a:gd name="T58" fmla="*/ 132 w 588"/>
              <a:gd name="T59" fmla="*/ 348 h 578"/>
              <a:gd name="T60" fmla="*/ 132 w 588"/>
              <a:gd name="T61" fmla="*/ 367 h 578"/>
              <a:gd name="T62" fmla="*/ 174 w 588"/>
              <a:gd name="T63" fmla="*/ 386 h 578"/>
              <a:gd name="T64" fmla="*/ 134 w 588"/>
              <a:gd name="T65" fmla="*/ 402 h 578"/>
              <a:gd name="T66" fmla="*/ 115 w 588"/>
              <a:gd name="T67" fmla="*/ 443 h 578"/>
              <a:gd name="T68" fmla="*/ 81 w 588"/>
              <a:gd name="T69" fmla="*/ 443 h 578"/>
              <a:gd name="T70" fmla="*/ 52 w 588"/>
              <a:gd name="T71" fmla="*/ 466 h 578"/>
              <a:gd name="T72" fmla="*/ 33 w 588"/>
              <a:gd name="T73" fmla="*/ 455 h 578"/>
              <a:gd name="T74" fmla="*/ 20 w 588"/>
              <a:gd name="T75" fmla="*/ 496 h 578"/>
              <a:gd name="T76" fmla="*/ 0 w 588"/>
              <a:gd name="T77" fmla="*/ 496 h 578"/>
              <a:gd name="T78" fmla="*/ 5 w 588"/>
              <a:gd name="T79" fmla="*/ 578 h 578"/>
              <a:gd name="T80" fmla="*/ 588 w 588"/>
              <a:gd name="T81" fmla="*/ 578 h 578"/>
              <a:gd name="T82" fmla="*/ 558 w 588"/>
              <a:gd name="T83" fmla="*/ 546 h 578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588"/>
              <a:gd name="T127" fmla="*/ 0 h 578"/>
              <a:gd name="T128" fmla="*/ 588 w 588"/>
              <a:gd name="T129" fmla="*/ 578 h 578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588" h="578">
                <a:moveTo>
                  <a:pt x="558" y="546"/>
                </a:moveTo>
                <a:cubicBezTo>
                  <a:pt x="515" y="490"/>
                  <a:pt x="515" y="438"/>
                  <a:pt x="515" y="438"/>
                </a:cubicBezTo>
                <a:cubicBezTo>
                  <a:pt x="515" y="438"/>
                  <a:pt x="474" y="382"/>
                  <a:pt x="457" y="367"/>
                </a:cubicBezTo>
                <a:cubicBezTo>
                  <a:pt x="441" y="352"/>
                  <a:pt x="478" y="302"/>
                  <a:pt x="478" y="302"/>
                </a:cubicBezTo>
                <a:cubicBezTo>
                  <a:pt x="478" y="302"/>
                  <a:pt x="480" y="297"/>
                  <a:pt x="485" y="289"/>
                </a:cubicBezTo>
                <a:cubicBezTo>
                  <a:pt x="483" y="291"/>
                  <a:pt x="483" y="291"/>
                  <a:pt x="483" y="291"/>
                </a:cubicBezTo>
                <a:cubicBezTo>
                  <a:pt x="470" y="263"/>
                  <a:pt x="470" y="263"/>
                  <a:pt x="470" y="263"/>
                </a:cubicBezTo>
                <a:cubicBezTo>
                  <a:pt x="461" y="222"/>
                  <a:pt x="461" y="222"/>
                  <a:pt x="461" y="222"/>
                </a:cubicBezTo>
                <a:cubicBezTo>
                  <a:pt x="482" y="222"/>
                  <a:pt x="482" y="222"/>
                  <a:pt x="482" y="222"/>
                </a:cubicBezTo>
                <a:cubicBezTo>
                  <a:pt x="483" y="194"/>
                  <a:pt x="483" y="194"/>
                  <a:pt x="483" y="194"/>
                </a:cubicBezTo>
                <a:cubicBezTo>
                  <a:pt x="506" y="194"/>
                  <a:pt x="506" y="194"/>
                  <a:pt x="506" y="194"/>
                </a:cubicBezTo>
                <a:cubicBezTo>
                  <a:pt x="502" y="155"/>
                  <a:pt x="502" y="155"/>
                  <a:pt x="502" y="155"/>
                </a:cubicBezTo>
                <a:cubicBezTo>
                  <a:pt x="380" y="125"/>
                  <a:pt x="380" y="125"/>
                  <a:pt x="380" y="125"/>
                </a:cubicBezTo>
                <a:cubicBezTo>
                  <a:pt x="361" y="153"/>
                  <a:pt x="361" y="153"/>
                  <a:pt x="361" y="153"/>
                </a:cubicBezTo>
                <a:cubicBezTo>
                  <a:pt x="361" y="153"/>
                  <a:pt x="316" y="134"/>
                  <a:pt x="308" y="120"/>
                </a:cubicBezTo>
                <a:cubicBezTo>
                  <a:pt x="301" y="105"/>
                  <a:pt x="297" y="45"/>
                  <a:pt x="299" y="30"/>
                </a:cubicBezTo>
                <a:cubicBezTo>
                  <a:pt x="300" y="23"/>
                  <a:pt x="296" y="12"/>
                  <a:pt x="291" y="2"/>
                </a:cubicBezTo>
                <a:cubicBezTo>
                  <a:pt x="280" y="5"/>
                  <a:pt x="265" y="10"/>
                  <a:pt x="262" y="10"/>
                </a:cubicBezTo>
                <a:cubicBezTo>
                  <a:pt x="256" y="10"/>
                  <a:pt x="245" y="0"/>
                  <a:pt x="245" y="0"/>
                </a:cubicBezTo>
                <a:cubicBezTo>
                  <a:pt x="245" y="0"/>
                  <a:pt x="238" y="23"/>
                  <a:pt x="219" y="49"/>
                </a:cubicBezTo>
                <a:cubicBezTo>
                  <a:pt x="201" y="75"/>
                  <a:pt x="202" y="107"/>
                  <a:pt x="202" y="107"/>
                </a:cubicBezTo>
                <a:cubicBezTo>
                  <a:pt x="161" y="129"/>
                  <a:pt x="161" y="129"/>
                  <a:pt x="161" y="129"/>
                </a:cubicBezTo>
                <a:cubicBezTo>
                  <a:pt x="173" y="161"/>
                  <a:pt x="173" y="161"/>
                  <a:pt x="173" y="161"/>
                </a:cubicBezTo>
                <a:cubicBezTo>
                  <a:pt x="154" y="177"/>
                  <a:pt x="154" y="177"/>
                  <a:pt x="154" y="177"/>
                </a:cubicBezTo>
                <a:cubicBezTo>
                  <a:pt x="150" y="205"/>
                  <a:pt x="150" y="205"/>
                  <a:pt x="150" y="205"/>
                </a:cubicBezTo>
                <a:cubicBezTo>
                  <a:pt x="150" y="205"/>
                  <a:pt x="156" y="228"/>
                  <a:pt x="148" y="228"/>
                </a:cubicBezTo>
                <a:cubicBezTo>
                  <a:pt x="141" y="228"/>
                  <a:pt x="128" y="259"/>
                  <a:pt x="128" y="259"/>
                </a:cubicBezTo>
                <a:cubicBezTo>
                  <a:pt x="134" y="295"/>
                  <a:pt x="134" y="295"/>
                  <a:pt x="134" y="295"/>
                </a:cubicBezTo>
                <a:cubicBezTo>
                  <a:pt x="119" y="317"/>
                  <a:pt x="119" y="317"/>
                  <a:pt x="119" y="317"/>
                </a:cubicBezTo>
                <a:cubicBezTo>
                  <a:pt x="132" y="348"/>
                  <a:pt x="132" y="348"/>
                  <a:pt x="132" y="348"/>
                </a:cubicBezTo>
                <a:cubicBezTo>
                  <a:pt x="132" y="367"/>
                  <a:pt x="132" y="367"/>
                  <a:pt x="132" y="367"/>
                </a:cubicBezTo>
                <a:cubicBezTo>
                  <a:pt x="174" y="386"/>
                  <a:pt x="174" y="386"/>
                  <a:pt x="174" y="386"/>
                </a:cubicBezTo>
                <a:cubicBezTo>
                  <a:pt x="134" y="402"/>
                  <a:pt x="134" y="402"/>
                  <a:pt x="134" y="402"/>
                </a:cubicBezTo>
                <a:cubicBezTo>
                  <a:pt x="115" y="443"/>
                  <a:pt x="115" y="443"/>
                  <a:pt x="115" y="443"/>
                </a:cubicBezTo>
                <a:cubicBezTo>
                  <a:pt x="81" y="443"/>
                  <a:pt x="81" y="443"/>
                  <a:pt x="81" y="443"/>
                </a:cubicBezTo>
                <a:cubicBezTo>
                  <a:pt x="52" y="466"/>
                  <a:pt x="52" y="466"/>
                  <a:pt x="52" y="466"/>
                </a:cubicBezTo>
                <a:cubicBezTo>
                  <a:pt x="33" y="455"/>
                  <a:pt x="33" y="455"/>
                  <a:pt x="33" y="455"/>
                </a:cubicBezTo>
                <a:cubicBezTo>
                  <a:pt x="20" y="496"/>
                  <a:pt x="20" y="496"/>
                  <a:pt x="20" y="496"/>
                </a:cubicBezTo>
                <a:cubicBezTo>
                  <a:pt x="0" y="496"/>
                  <a:pt x="0" y="496"/>
                  <a:pt x="0" y="496"/>
                </a:cubicBezTo>
                <a:cubicBezTo>
                  <a:pt x="5" y="578"/>
                  <a:pt x="5" y="578"/>
                  <a:pt x="5" y="578"/>
                </a:cubicBezTo>
                <a:cubicBezTo>
                  <a:pt x="588" y="578"/>
                  <a:pt x="588" y="578"/>
                  <a:pt x="588" y="578"/>
                </a:cubicBezTo>
                <a:cubicBezTo>
                  <a:pt x="577" y="568"/>
                  <a:pt x="566" y="557"/>
                  <a:pt x="558" y="546"/>
                </a:cubicBez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25" name="Freeform 204"/>
          <p:cNvSpPr>
            <a:spLocks/>
          </p:cNvSpPr>
          <p:nvPr/>
        </p:nvSpPr>
        <p:spPr bwMode="auto">
          <a:xfrm>
            <a:off x="211138" y="4568825"/>
            <a:ext cx="503237" cy="1014413"/>
          </a:xfrm>
          <a:custGeom>
            <a:avLst/>
            <a:gdLst>
              <a:gd name="T0" fmla="*/ 96 w 436"/>
              <a:gd name="T1" fmla="*/ 749 h 879"/>
              <a:gd name="T2" fmla="*/ 122 w 436"/>
              <a:gd name="T3" fmla="*/ 775 h 879"/>
              <a:gd name="T4" fmla="*/ 151 w 436"/>
              <a:gd name="T5" fmla="*/ 772 h 879"/>
              <a:gd name="T6" fmla="*/ 155 w 436"/>
              <a:gd name="T7" fmla="*/ 774 h 879"/>
              <a:gd name="T8" fmla="*/ 163 w 436"/>
              <a:gd name="T9" fmla="*/ 779 h 879"/>
              <a:gd name="T10" fmla="*/ 176 w 436"/>
              <a:gd name="T11" fmla="*/ 788 h 879"/>
              <a:gd name="T12" fmla="*/ 179 w 436"/>
              <a:gd name="T13" fmla="*/ 791 h 879"/>
              <a:gd name="T14" fmla="*/ 182 w 436"/>
              <a:gd name="T15" fmla="*/ 793 h 879"/>
              <a:gd name="T16" fmla="*/ 185 w 436"/>
              <a:gd name="T17" fmla="*/ 795 h 879"/>
              <a:gd name="T18" fmla="*/ 187 w 436"/>
              <a:gd name="T19" fmla="*/ 798 h 879"/>
              <a:gd name="T20" fmla="*/ 189 w 436"/>
              <a:gd name="T21" fmla="*/ 800 h 879"/>
              <a:gd name="T22" fmla="*/ 189 w 436"/>
              <a:gd name="T23" fmla="*/ 800 h 879"/>
              <a:gd name="T24" fmla="*/ 190 w 436"/>
              <a:gd name="T25" fmla="*/ 801 h 879"/>
              <a:gd name="T26" fmla="*/ 190 w 436"/>
              <a:gd name="T27" fmla="*/ 802 h 879"/>
              <a:gd name="T28" fmla="*/ 191 w 436"/>
              <a:gd name="T29" fmla="*/ 803 h 879"/>
              <a:gd name="T30" fmla="*/ 191 w 436"/>
              <a:gd name="T31" fmla="*/ 803 h 879"/>
              <a:gd name="T32" fmla="*/ 191 w 436"/>
              <a:gd name="T33" fmla="*/ 804 h 879"/>
              <a:gd name="T34" fmla="*/ 214 w 436"/>
              <a:gd name="T35" fmla="*/ 838 h 879"/>
              <a:gd name="T36" fmla="*/ 225 w 436"/>
              <a:gd name="T37" fmla="*/ 872 h 879"/>
              <a:gd name="T38" fmla="*/ 275 w 436"/>
              <a:gd name="T39" fmla="*/ 851 h 879"/>
              <a:gd name="T40" fmla="*/ 282 w 436"/>
              <a:gd name="T41" fmla="*/ 803 h 879"/>
              <a:gd name="T42" fmla="*/ 340 w 436"/>
              <a:gd name="T43" fmla="*/ 723 h 879"/>
              <a:gd name="T44" fmla="*/ 383 w 436"/>
              <a:gd name="T45" fmla="*/ 684 h 879"/>
              <a:gd name="T46" fmla="*/ 422 w 436"/>
              <a:gd name="T47" fmla="*/ 673 h 879"/>
              <a:gd name="T48" fmla="*/ 418 w 436"/>
              <a:gd name="T49" fmla="*/ 619 h 879"/>
              <a:gd name="T50" fmla="*/ 428 w 436"/>
              <a:gd name="T51" fmla="*/ 533 h 879"/>
              <a:gd name="T52" fmla="*/ 415 w 436"/>
              <a:gd name="T53" fmla="*/ 443 h 879"/>
              <a:gd name="T54" fmla="*/ 394 w 436"/>
              <a:gd name="T55" fmla="*/ 447 h 879"/>
              <a:gd name="T56" fmla="*/ 348 w 436"/>
              <a:gd name="T57" fmla="*/ 405 h 879"/>
              <a:gd name="T58" fmla="*/ 266 w 436"/>
              <a:gd name="T59" fmla="*/ 380 h 879"/>
              <a:gd name="T60" fmla="*/ 191 w 436"/>
              <a:gd name="T61" fmla="*/ 299 h 879"/>
              <a:gd name="T62" fmla="*/ 72 w 436"/>
              <a:gd name="T63" fmla="*/ 192 h 879"/>
              <a:gd name="T64" fmla="*/ 39 w 436"/>
              <a:gd name="T65" fmla="*/ 114 h 879"/>
              <a:gd name="T66" fmla="*/ 33 w 436"/>
              <a:gd name="T67" fmla="*/ 25 h 879"/>
              <a:gd name="T68" fmla="*/ 0 w 436"/>
              <a:gd name="T69" fmla="*/ 678 h 87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436"/>
              <a:gd name="T106" fmla="*/ 0 h 879"/>
              <a:gd name="T107" fmla="*/ 436 w 436"/>
              <a:gd name="T108" fmla="*/ 879 h 879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436" h="879">
                <a:moveTo>
                  <a:pt x="11" y="687"/>
                </a:moveTo>
                <a:cubicBezTo>
                  <a:pt x="26" y="710"/>
                  <a:pt x="76" y="749"/>
                  <a:pt x="96" y="749"/>
                </a:cubicBezTo>
                <a:cubicBezTo>
                  <a:pt x="117" y="749"/>
                  <a:pt x="122" y="749"/>
                  <a:pt x="122" y="749"/>
                </a:cubicBezTo>
                <a:cubicBezTo>
                  <a:pt x="122" y="775"/>
                  <a:pt x="122" y="775"/>
                  <a:pt x="122" y="775"/>
                </a:cubicBezTo>
                <a:cubicBezTo>
                  <a:pt x="150" y="771"/>
                  <a:pt x="150" y="771"/>
                  <a:pt x="150" y="771"/>
                </a:cubicBezTo>
                <a:cubicBezTo>
                  <a:pt x="150" y="771"/>
                  <a:pt x="151" y="771"/>
                  <a:pt x="151" y="772"/>
                </a:cubicBezTo>
                <a:cubicBezTo>
                  <a:pt x="151" y="772"/>
                  <a:pt x="152" y="772"/>
                  <a:pt x="152" y="772"/>
                </a:cubicBezTo>
                <a:cubicBezTo>
                  <a:pt x="153" y="773"/>
                  <a:pt x="154" y="773"/>
                  <a:pt x="155" y="774"/>
                </a:cubicBezTo>
                <a:cubicBezTo>
                  <a:pt x="155" y="774"/>
                  <a:pt x="155" y="774"/>
                  <a:pt x="156" y="774"/>
                </a:cubicBezTo>
                <a:cubicBezTo>
                  <a:pt x="158" y="776"/>
                  <a:pt x="160" y="777"/>
                  <a:pt x="163" y="779"/>
                </a:cubicBezTo>
                <a:cubicBezTo>
                  <a:pt x="163" y="779"/>
                  <a:pt x="163" y="779"/>
                  <a:pt x="163" y="780"/>
                </a:cubicBezTo>
                <a:cubicBezTo>
                  <a:pt x="167" y="782"/>
                  <a:pt x="172" y="785"/>
                  <a:pt x="176" y="788"/>
                </a:cubicBezTo>
                <a:cubicBezTo>
                  <a:pt x="176" y="788"/>
                  <a:pt x="176" y="788"/>
                  <a:pt x="176" y="788"/>
                </a:cubicBezTo>
                <a:cubicBezTo>
                  <a:pt x="177" y="789"/>
                  <a:pt x="178" y="790"/>
                  <a:pt x="179" y="791"/>
                </a:cubicBezTo>
                <a:cubicBezTo>
                  <a:pt x="179" y="791"/>
                  <a:pt x="179" y="791"/>
                  <a:pt x="180" y="791"/>
                </a:cubicBezTo>
                <a:cubicBezTo>
                  <a:pt x="180" y="792"/>
                  <a:pt x="181" y="792"/>
                  <a:pt x="182" y="793"/>
                </a:cubicBezTo>
                <a:cubicBezTo>
                  <a:pt x="182" y="793"/>
                  <a:pt x="182" y="793"/>
                  <a:pt x="182" y="793"/>
                </a:cubicBezTo>
                <a:cubicBezTo>
                  <a:pt x="183" y="794"/>
                  <a:pt x="184" y="795"/>
                  <a:pt x="185" y="795"/>
                </a:cubicBezTo>
                <a:cubicBezTo>
                  <a:pt x="185" y="796"/>
                  <a:pt x="185" y="796"/>
                  <a:pt x="185" y="796"/>
                </a:cubicBezTo>
                <a:cubicBezTo>
                  <a:pt x="186" y="796"/>
                  <a:pt x="186" y="797"/>
                  <a:pt x="187" y="798"/>
                </a:cubicBezTo>
                <a:cubicBezTo>
                  <a:pt x="187" y="798"/>
                  <a:pt x="187" y="798"/>
                  <a:pt x="187" y="798"/>
                </a:cubicBezTo>
                <a:cubicBezTo>
                  <a:pt x="188" y="799"/>
                  <a:pt x="188" y="799"/>
                  <a:pt x="189" y="800"/>
                </a:cubicBezTo>
                <a:cubicBezTo>
                  <a:pt x="189" y="800"/>
                  <a:pt x="189" y="800"/>
                  <a:pt x="189" y="800"/>
                </a:cubicBezTo>
                <a:cubicBezTo>
                  <a:pt x="189" y="800"/>
                  <a:pt x="189" y="800"/>
                  <a:pt x="189" y="800"/>
                </a:cubicBezTo>
                <a:cubicBezTo>
                  <a:pt x="189" y="800"/>
                  <a:pt x="189" y="800"/>
                  <a:pt x="189" y="800"/>
                </a:cubicBezTo>
                <a:cubicBezTo>
                  <a:pt x="189" y="801"/>
                  <a:pt x="190" y="801"/>
                  <a:pt x="190" y="801"/>
                </a:cubicBezTo>
                <a:cubicBezTo>
                  <a:pt x="190" y="801"/>
                  <a:pt x="190" y="801"/>
                  <a:pt x="190" y="801"/>
                </a:cubicBezTo>
                <a:cubicBezTo>
                  <a:pt x="190" y="802"/>
                  <a:pt x="190" y="802"/>
                  <a:pt x="190" y="802"/>
                </a:cubicBezTo>
                <a:cubicBezTo>
                  <a:pt x="190" y="802"/>
                  <a:pt x="191" y="802"/>
                  <a:pt x="191" y="803"/>
                </a:cubicBezTo>
                <a:cubicBezTo>
                  <a:pt x="191" y="803"/>
                  <a:pt x="191" y="803"/>
                  <a:pt x="191" y="803"/>
                </a:cubicBezTo>
                <a:cubicBezTo>
                  <a:pt x="191" y="803"/>
                  <a:pt x="191" y="803"/>
                  <a:pt x="191" y="803"/>
                </a:cubicBezTo>
                <a:cubicBezTo>
                  <a:pt x="191" y="803"/>
                  <a:pt x="191" y="803"/>
                  <a:pt x="191" y="803"/>
                </a:cubicBezTo>
                <a:cubicBezTo>
                  <a:pt x="191" y="804"/>
                  <a:pt x="191" y="804"/>
                  <a:pt x="191" y="804"/>
                </a:cubicBezTo>
                <a:cubicBezTo>
                  <a:pt x="191" y="804"/>
                  <a:pt x="191" y="804"/>
                  <a:pt x="191" y="804"/>
                </a:cubicBezTo>
                <a:cubicBezTo>
                  <a:pt x="191" y="804"/>
                  <a:pt x="191" y="804"/>
                  <a:pt x="191" y="805"/>
                </a:cubicBezTo>
                <a:cubicBezTo>
                  <a:pt x="191" y="814"/>
                  <a:pt x="208" y="838"/>
                  <a:pt x="214" y="838"/>
                </a:cubicBezTo>
                <a:cubicBezTo>
                  <a:pt x="219" y="838"/>
                  <a:pt x="232" y="848"/>
                  <a:pt x="232" y="848"/>
                </a:cubicBezTo>
                <a:cubicBezTo>
                  <a:pt x="225" y="872"/>
                  <a:pt x="225" y="872"/>
                  <a:pt x="225" y="872"/>
                </a:cubicBezTo>
                <a:cubicBezTo>
                  <a:pt x="271" y="879"/>
                  <a:pt x="271" y="879"/>
                  <a:pt x="271" y="879"/>
                </a:cubicBezTo>
                <a:cubicBezTo>
                  <a:pt x="275" y="851"/>
                  <a:pt x="275" y="851"/>
                  <a:pt x="275" y="851"/>
                </a:cubicBezTo>
                <a:cubicBezTo>
                  <a:pt x="294" y="835"/>
                  <a:pt x="294" y="835"/>
                  <a:pt x="294" y="835"/>
                </a:cubicBezTo>
                <a:cubicBezTo>
                  <a:pt x="282" y="803"/>
                  <a:pt x="282" y="803"/>
                  <a:pt x="282" y="803"/>
                </a:cubicBezTo>
                <a:cubicBezTo>
                  <a:pt x="323" y="781"/>
                  <a:pt x="323" y="781"/>
                  <a:pt x="323" y="781"/>
                </a:cubicBezTo>
                <a:cubicBezTo>
                  <a:pt x="323" y="781"/>
                  <a:pt x="322" y="749"/>
                  <a:pt x="340" y="723"/>
                </a:cubicBezTo>
                <a:cubicBezTo>
                  <a:pt x="359" y="697"/>
                  <a:pt x="366" y="674"/>
                  <a:pt x="366" y="674"/>
                </a:cubicBezTo>
                <a:cubicBezTo>
                  <a:pt x="366" y="674"/>
                  <a:pt x="377" y="684"/>
                  <a:pt x="383" y="684"/>
                </a:cubicBezTo>
                <a:cubicBezTo>
                  <a:pt x="386" y="684"/>
                  <a:pt x="401" y="679"/>
                  <a:pt x="412" y="676"/>
                </a:cubicBezTo>
                <a:cubicBezTo>
                  <a:pt x="418" y="674"/>
                  <a:pt x="422" y="673"/>
                  <a:pt x="422" y="673"/>
                </a:cubicBezTo>
                <a:cubicBezTo>
                  <a:pt x="422" y="673"/>
                  <a:pt x="423" y="655"/>
                  <a:pt x="422" y="640"/>
                </a:cubicBezTo>
                <a:cubicBezTo>
                  <a:pt x="421" y="630"/>
                  <a:pt x="420" y="622"/>
                  <a:pt x="418" y="619"/>
                </a:cubicBezTo>
                <a:cubicBezTo>
                  <a:pt x="413" y="609"/>
                  <a:pt x="381" y="589"/>
                  <a:pt x="402" y="568"/>
                </a:cubicBezTo>
                <a:cubicBezTo>
                  <a:pt x="422" y="548"/>
                  <a:pt x="428" y="533"/>
                  <a:pt x="428" y="533"/>
                </a:cubicBezTo>
                <a:cubicBezTo>
                  <a:pt x="436" y="514"/>
                  <a:pt x="436" y="514"/>
                  <a:pt x="436" y="514"/>
                </a:cubicBezTo>
                <a:cubicBezTo>
                  <a:pt x="415" y="443"/>
                  <a:pt x="415" y="443"/>
                  <a:pt x="415" y="443"/>
                </a:cubicBezTo>
                <a:cubicBezTo>
                  <a:pt x="413" y="436"/>
                  <a:pt x="413" y="436"/>
                  <a:pt x="413" y="436"/>
                </a:cubicBezTo>
                <a:cubicBezTo>
                  <a:pt x="394" y="447"/>
                  <a:pt x="394" y="447"/>
                  <a:pt x="394" y="447"/>
                </a:cubicBezTo>
                <a:cubicBezTo>
                  <a:pt x="374" y="408"/>
                  <a:pt x="374" y="408"/>
                  <a:pt x="374" y="408"/>
                </a:cubicBezTo>
                <a:cubicBezTo>
                  <a:pt x="348" y="405"/>
                  <a:pt x="348" y="405"/>
                  <a:pt x="348" y="405"/>
                </a:cubicBezTo>
                <a:cubicBezTo>
                  <a:pt x="348" y="369"/>
                  <a:pt x="348" y="369"/>
                  <a:pt x="348" y="369"/>
                </a:cubicBezTo>
                <a:cubicBezTo>
                  <a:pt x="348" y="369"/>
                  <a:pt x="301" y="395"/>
                  <a:pt x="266" y="380"/>
                </a:cubicBezTo>
                <a:cubicBezTo>
                  <a:pt x="230" y="366"/>
                  <a:pt x="188" y="321"/>
                  <a:pt x="188" y="321"/>
                </a:cubicBezTo>
                <a:cubicBezTo>
                  <a:pt x="191" y="299"/>
                  <a:pt x="191" y="299"/>
                  <a:pt x="191" y="299"/>
                </a:cubicBezTo>
                <a:cubicBezTo>
                  <a:pt x="191" y="299"/>
                  <a:pt x="109" y="269"/>
                  <a:pt x="106" y="252"/>
                </a:cubicBezTo>
                <a:cubicBezTo>
                  <a:pt x="102" y="235"/>
                  <a:pt x="72" y="207"/>
                  <a:pt x="72" y="192"/>
                </a:cubicBezTo>
                <a:cubicBezTo>
                  <a:pt x="72" y="178"/>
                  <a:pt x="68" y="153"/>
                  <a:pt x="54" y="152"/>
                </a:cubicBezTo>
                <a:cubicBezTo>
                  <a:pt x="39" y="150"/>
                  <a:pt x="35" y="127"/>
                  <a:pt x="39" y="114"/>
                </a:cubicBezTo>
                <a:cubicBezTo>
                  <a:pt x="42" y="101"/>
                  <a:pt x="16" y="81"/>
                  <a:pt x="18" y="62"/>
                </a:cubicBezTo>
                <a:cubicBezTo>
                  <a:pt x="20" y="44"/>
                  <a:pt x="33" y="25"/>
                  <a:pt x="33" y="25"/>
                </a:cubicBezTo>
                <a:cubicBezTo>
                  <a:pt x="0" y="0"/>
                  <a:pt x="0" y="0"/>
                  <a:pt x="0" y="0"/>
                </a:cubicBezTo>
                <a:cubicBezTo>
                  <a:pt x="0" y="678"/>
                  <a:pt x="0" y="678"/>
                  <a:pt x="0" y="678"/>
                </a:cubicBezTo>
                <a:cubicBezTo>
                  <a:pt x="4" y="681"/>
                  <a:pt x="8" y="684"/>
                  <a:pt x="11" y="687"/>
                </a:cubicBez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26" name="Freeform 205"/>
          <p:cNvSpPr>
            <a:spLocks/>
          </p:cNvSpPr>
          <p:nvPr/>
        </p:nvSpPr>
        <p:spPr bwMode="auto">
          <a:xfrm>
            <a:off x="211138" y="5351463"/>
            <a:ext cx="341312" cy="663575"/>
          </a:xfrm>
          <a:custGeom>
            <a:avLst/>
            <a:gdLst>
              <a:gd name="T0" fmla="*/ 232 w 295"/>
              <a:gd name="T1" fmla="*/ 170 h 574"/>
              <a:gd name="T2" fmla="*/ 214 w 295"/>
              <a:gd name="T3" fmla="*/ 160 h 574"/>
              <a:gd name="T4" fmla="*/ 191 w 295"/>
              <a:gd name="T5" fmla="*/ 127 h 574"/>
              <a:gd name="T6" fmla="*/ 191 w 295"/>
              <a:gd name="T7" fmla="*/ 126 h 574"/>
              <a:gd name="T8" fmla="*/ 191 w 295"/>
              <a:gd name="T9" fmla="*/ 125 h 574"/>
              <a:gd name="T10" fmla="*/ 191 w 295"/>
              <a:gd name="T11" fmla="*/ 125 h 574"/>
              <a:gd name="T12" fmla="*/ 190 w 295"/>
              <a:gd name="T13" fmla="*/ 124 h 574"/>
              <a:gd name="T14" fmla="*/ 190 w 295"/>
              <a:gd name="T15" fmla="*/ 124 h 574"/>
              <a:gd name="T16" fmla="*/ 190 w 295"/>
              <a:gd name="T17" fmla="*/ 123 h 574"/>
              <a:gd name="T18" fmla="*/ 190 w 295"/>
              <a:gd name="T19" fmla="*/ 123 h 574"/>
              <a:gd name="T20" fmla="*/ 189 w 295"/>
              <a:gd name="T21" fmla="*/ 122 h 574"/>
              <a:gd name="T22" fmla="*/ 189 w 295"/>
              <a:gd name="T23" fmla="*/ 122 h 574"/>
              <a:gd name="T24" fmla="*/ 187 w 295"/>
              <a:gd name="T25" fmla="*/ 120 h 574"/>
              <a:gd name="T26" fmla="*/ 187 w 295"/>
              <a:gd name="T27" fmla="*/ 120 h 574"/>
              <a:gd name="T28" fmla="*/ 185 w 295"/>
              <a:gd name="T29" fmla="*/ 118 h 574"/>
              <a:gd name="T30" fmla="*/ 185 w 295"/>
              <a:gd name="T31" fmla="*/ 117 h 574"/>
              <a:gd name="T32" fmla="*/ 182 w 295"/>
              <a:gd name="T33" fmla="*/ 115 h 574"/>
              <a:gd name="T34" fmla="*/ 182 w 295"/>
              <a:gd name="T35" fmla="*/ 115 h 574"/>
              <a:gd name="T36" fmla="*/ 180 w 295"/>
              <a:gd name="T37" fmla="*/ 113 h 574"/>
              <a:gd name="T38" fmla="*/ 179 w 295"/>
              <a:gd name="T39" fmla="*/ 113 h 574"/>
              <a:gd name="T40" fmla="*/ 176 w 295"/>
              <a:gd name="T41" fmla="*/ 110 h 574"/>
              <a:gd name="T42" fmla="*/ 176 w 295"/>
              <a:gd name="T43" fmla="*/ 110 h 574"/>
              <a:gd name="T44" fmla="*/ 163 w 295"/>
              <a:gd name="T45" fmla="*/ 102 h 574"/>
              <a:gd name="T46" fmla="*/ 163 w 295"/>
              <a:gd name="T47" fmla="*/ 101 h 574"/>
              <a:gd name="T48" fmla="*/ 156 w 295"/>
              <a:gd name="T49" fmla="*/ 96 h 574"/>
              <a:gd name="T50" fmla="*/ 155 w 295"/>
              <a:gd name="T51" fmla="*/ 96 h 574"/>
              <a:gd name="T52" fmla="*/ 152 w 295"/>
              <a:gd name="T53" fmla="*/ 94 h 574"/>
              <a:gd name="T54" fmla="*/ 151 w 295"/>
              <a:gd name="T55" fmla="*/ 94 h 574"/>
              <a:gd name="T56" fmla="*/ 150 w 295"/>
              <a:gd name="T57" fmla="*/ 93 h 574"/>
              <a:gd name="T58" fmla="*/ 122 w 295"/>
              <a:gd name="T59" fmla="*/ 97 h 574"/>
              <a:gd name="T60" fmla="*/ 122 w 295"/>
              <a:gd name="T61" fmla="*/ 71 h 574"/>
              <a:gd name="T62" fmla="*/ 96 w 295"/>
              <a:gd name="T63" fmla="*/ 71 h 574"/>
              <a:gd name="T64" fmla="*/ 11 w 295"/>
              <a:gd name="T65" fmla="*/ 9 h 574"/>
              <a:gd name="T66" fmla="*/ 0 w 295"/>
              <a:gd name="T67" fmla="*/ 0 h 574"/>
              <a:gd name="T68" fmla="*/ 0 w 295"/>
              <a:gd name="T69" fmla="*/ 574 h 574"/>
              <a:gd name="T70" fmla="*/ 126 w 295"/>
              <a:gd name="T71" fmla="*/ 574 h 574"/>
              <a:gd name="T72" fmla="*/ 121 w 295"/>
              <a:gd name="T73" fmla="*/ 492 h 574"/>
              <a:gd name="T74" fmla="*/ 141 w 295"/>
              <a:gd name="T75" fmla="*/ 492 h 574"/>
              <a:gd name="T76" fmla="*/ 154 w 295"/>
              <a:gd name="T77" fmla="*/ 451 h 574"/>
              <a:gd name="T78" fmla="*/ 173 w 295"/>
              <a:gd name="T79" fmla="*/ 462 h 574"/>
              <a:gd name="T80" fmla="*/ 202 w 295"/>
              <a:gd name="T81" fmla="*/ 439 h 574"/>
              <a:gd name="T82" fmla="*/ 236 w 295"/>
              <a:gd name="T83" fmla="*/ 439 h 574"/>
              <a:gd name="T84" fmla="*/ 255 w 295"/>
              <a:gd name="T85" fmla="*/ 398 h 574"/>
              <a:gd name="T86" fmla="*/ 295 w 295"/>
              <a:gd name="T87" fmla="*/ 382 h 574"/>
              <a:gd name="T88" fmla="*/ 253 w 295"/>
              <a:gd name="T89" fmla="*/ 363 h 574"/>
              <a:gd name="T90" fmla="*/ 253 w 295"/>
              <a:gd name="T91" fmla="*/ 344 h 574"/>
              <a:gd name="T92" fmla="*/ 240 w 295"/>
              <a:gd name="T93" fmla="*/ 313 h 574"/>
              <a:gd name="T94" fmla="*/ 255 w 295"/>
              <a:gd name="T95" fmla="*/ 291 h 574"/>
              <a:gd name="T96" fmla="*/ 249 w 295"/>
              <a:gd name="T97" fmla="*/ 255 h 574"/>
              <a:gd name="T98" fmla="*/ 269 w 295"/>
              <a:gd name="T99" fmla="*/ 224 h 574"/>
              <a:gd name="T100" fmla="*/ 271 w 295"/>
              <a:gd name="T101" fmla="*/ 201 h 574"/>
              <a:gd name="T102" fmla="*/ 225 w 295"/>
              <a:gd name="T103" fmla="*/ 194 h 574"/>
              <a:gd name="T104" fmla="*/ 232 w 295"/>
              <a:gd name="T105" fmla="*/ 170 h 57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95"/>
              <a:gd name="T160" fmla="*/ 0 h 574"/>
              <a:gd name="T161" fmla="*/ 295 w 295"/>
              <a:gd name="T162" fmla="*/ 574 h 57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95" h="574">
                <a:moveTo>
                  <a:pt x="232" y="170"/>
                </a:moveTo>
                <a:cubicBezTo>
                  <a:pt x="232" y="170"/>
                  <a:pt x="219" y="160"/>
                  <a:pt x="214" y="160"/>
                </a:cubicBezTo>
                <a:cubicBezTo>
                  <a:pt x="208" y="160"/>
                  <a:pt x="191" y="136"/>
                  <a:pt x="191" y="127"/>
                </a:cubicBezTo>
                <a:cubicBezTo>
                  <a:pt x="191" y="126"/>
                  <a:pt x="191" y="126"/>
                  <a:pt x="191" y="126"/>
                </a:cubicBezTo>
                <a:cubicBezTo>
                  <a:pt x="191" y="126"/>
                  <a:pt x="191" y="126"/>
                  <a:pt x="191" y="125"/>
                </a:cubicBezTo>
                <a:cubicBezTo>
                  <a:pt x="191" y="125"/>
                  <a:pt x="191" y="125"/>
                  <a:pt x="191" y="125"/>
                </a:cubicBezTo>
                <a:cubicBezTo>
                  <a:pt x="191" y="124"/>
                  <a:pt x="191" y="124"/>
                  <a:pt x="190" y="124"/>
                </a:cubicBezTo>
                <a:cubicBezTo>
                  <a:pt x="190" y="124"/>
                  <a:pt x="190" y="124"/>
                  <a:pt x="190" y="124"/>
                </a:cubicBezTo>
                <a:cubicBezTo>
                  <a:pt x="190" y="124"/>
                  <a:pt x="190" y="124"/>
                  <a:pt x="190" y="123"/>
                </a:cubicBezTo>
                <a:cubicBezTo>
                  <a:pt x="190" y="123"/>
                  <a:pt x="190" y="123"/>
                  <a:pt x="190" y="123"/>
                </a:cubicBezTo>
                <a:cubicBezTo>
                  <a:pt x="190" y="123"/>
                  <a:pt x="189" y="123"/>
                  <a:pt x="189" y="122"/>
                </a:cubicBezTo>
                <a:cubicBezTo>
                  <a:pt x="189" y="122"/>
                  <a:pt x="189" y="122"/>
                  <a:pt x="189" y="122"/>
                </a:cubicBezTo>
                <a:cubicBezTo>
                  <a:pt x="188" y="121"/>
                  <a:pt x="188" y="121"/>
                  <a:pt x="187" y="120"/>
                </a:cubicBezTo>
                <a:cubicBezTo>
                  <a:pt x="187" y="120"/>
                  <a:pt x="187" y="120"/>
                  <a:pt x="187" y="120"/>
                </a:cubicBezTo>
                <a:cubicBezTo>
                  <a:pt x="186" y="119"/>
                  <a:pt x="186" y="118"/>
                  <a:pt x="185" y="118"/>
                </a:cubicBezTo>
                <a:cubicBezTo>
                  <a:pt x="185" y="118"/>
                  <a:pt x="185" y="118"/>
                  <a:pt x="185" y="117"/>
                </a:cubicBezTo>
                <a:cubicBezTo>
                  <a:pt x="184" y="117"/>
                  <a:pt x="183" y="116"/>
                  <a:pt x="182" y="115"/>
                </a:cubicBezTo>
                <a:cubicBezTo>
                  <a:pt x="182" y="115"/>
                  <a:pt x="182" y="115"/>
                  <a:pt x="182" y="115"/>
                </a:cubicBezTo>
                <a:cubicBezTo>
                  <a:pt x="181" y="114"/>
                  <a:pt x="180" y="114"/>
                  <a:pt x="180" y="113"/>
                </a:cubicBezTo>
                <a:cubicBezTo>
                  <a:pt x="179" y="113"/>
                  <a:pt x="179" y="113"/>
                  <a:pt x="179" y="113"/>
                </a:cubicBezTo>
                <a:cubicBezTo>
                  <a:pt x="178" y="112"/>
                  <a:pt x="177" y="111"/>
                  <a:pt x="176" y="110"/>
                </a:cubicBezTo>
                <a:cubicBezTo>
                  <a:pt x="176" y="110"/>
                  <a:pt x="176" y="110"/>
                  <a:pt x="176" y="110"/>
                </a:cubicBezTo>
                <a:cubicBezTo>
                  <a:pt x="172" y="107"/>
                  <a:pt x="167" y="104"/>
                  <a:pt x="163" y="102"/>
                </a:cubicBezTo>
                <a:cubicBezTo>
                  <a:pt x="163" y="101"/>
                  <a:pt x="163" y="101"/>
                  <a:pt x="163" y="101"/>
                </a:cubicBezTo>
                <a:cubicBezTo>
                  <a:pt x="160" y="99"/>
                  <a:pt x="158" y="98"/>
                  <a:pt x="156" y="96"/>
                </a:cubicBezTo>
                <a:cubicBezTo>
                  <a:pt x="155" y="96"/>
                  <a:pt x="155" y="96"/>
                  <a:pt x="155" y="96"/>
                </a:cubicBezTo>
                <a:cubicBezTo>
                  <a:pt x="154" y="95"/>
                  <a:pt x="153" y="95"/>
                  <a:pt x="152" y="94"/>
                </a:cubicBezTo>
                <a:cubicBezTo>
                  <a:pt x="152" y="94"/>
                  <a:pt x="151" y="94"/>
                  <a:pt x="151" y="94"/>
                </a:cubicBezTo>
                <a:cubicBezTo>
                  <a:pt x="151" y="93"/>
                  <a:pt x="150" y="93"/>
                  <a:pt x="150" y="93"/>
                </a:cubicBezTo>
                <a:cubicBezTo>
                  <a:pt x="122" y="97"/>
                  <a:pt x="122" y="97"/>
                  <a:pt x="122" y="97"/>
                </a:cubicBezTo>
                <a:cubicBezTo>
                  <a:pt x="122" y="71"/>
                  <a:pt x="122" y="71"/>
                  <a:pt x="122" y="71"/>
                </a:cubicBezTo>
                <a:cubicBezTo>
                  <a:pt x="122" y="71"/>
                  <a:pt x="117" y="71"/>
                  <a:pt x="96" y="71"/>
                </a:cubicBezTo>
                <a:cubicBezTo>
                  <a:pt x="76" y="71"/>
                  <a:pt x="26" y="32"/>
                  <a:pt x="11" y="9"/>
                </a:cubicBezTo>
                <a:cubicBezTo>
                  <a:pt x="8" y="6"/>
                  <a:pt x="4" y="3"/>
                  <a:pt x="0" y="0"/>
                </a:cubicBezTo>
                <a:cubicBezTo>
                  <a:pt x="0" y="574"/>
                  <a:pt x="0" y="574"/>
                  <a:pt x="0" y="574"/>
                </a:cubicBezTo>
                <a:cubicBezTo>
                  <a:pt x="126" y="574"/>
                  <a:pt x="126" y="574"/>
                  <a:pt x="126" y="574"/>
                </a:cubicBezTo>
                <a:cubicBezTo>
                  <a:pt x="121" y="492"/>
                  <a:pt x="121" y="492"/>
                  <a:pt x="121" y="492"/>
                </a:cubicBezTo>
                <a:cubicBezTo>
                  <a:pt x="141" y="492"/>
                  <a:pt x="141" y="492"/>
                  <a:pt x="141" y="492"/>
                </a:cubicBezTo>
                <a:cubicBezTo>
                  <a:pt x="154" y="451"/>
                  <a:pt x="154" y="451"/>
                  <a:pt x="154" y="451"/>
                </a:cubicBezTo>
                <a:cubicBezTo>
                  <a:pt x="173" y="462"/>
                  <a:pt x="173" y="462"/>
                  <a:pt x="173" y="462"/>
                </a:cubicBezTo>
                <a:cubicBezTo>
                  <a:pt x="202" y="439"/>
                  <a:pt x="202" y="439"/>
                  <a:pt x="202" y="439"/>
                </a:cubicBezTo>
                <a:cubicBezTo>
                  <a:pt x="236" y="439"/>
                  <a:pt x="236" y="439"/>
                  <a:pt x="236" y="439"/>
                </a:cubicBezTo>
                <a:cubicBezTo>
                  <a:pt x="255" y="398"/>
                  <a:pt x="255" y="398"/>
                  <a:pt x="255" y="398"/>
                </a:cubicBezTo>
                <a:cubicBezTo>
                  <a:pt x="295" y="382"/>
                  <a:pt x="295" y="382"/>
                  <a:pt x="295" y="382"/>
                </a:cubicBezTo>
                <a:cubicBezTo>
                  <a:pt x="253" y="363"/>
                  <a:pt x="253" y="363"/>
                  <a:pt x="253" y="363"/>
                </a:cubicBezTo>
                <a:cubicBezTo>
                  <a:pt x="253" y="344"/>
                  <a:pt x="253" y="344"/>
                  <a:pt x="253" y="344"/>
                </a:cubicBezTo>
                <a:cubicBezTo>
                  <a:pt x="240" y="313"/>
                  <a:pt x="240" y="313"/>
                  <a:pt x="240" y="313"/>
                </a:cubicBezTo>
                <a:cubicBezTo>
                  <a:pt x="255" y="291"/>
                  <a:pt x="255" y="291"/>
                  <a:pt x="255" y="291"/>
                </a:cubicBezTo>
                <a:cubicBezTo>
                  <a:pt x="249" y="255"/>
                  <a:pt x="249" y="255"/>
                  <a:pt x="249" y="255"/>
                </a:cubicBezTo>
                <a:cubicBezTo>
                  <a:pt x="249" y="255"/>
                  <a:pt x="262" y="224"/>
                  <a:pt x="269" y="224"/>
                </a:cubicBezTo>
                <a:cubicBezTo>
                  <a:pt x="277" y="224"/>
                  <a:pt x="271" y="201"/>
                  <a:pt x="271" y="201"/>
                </a:cubicBezTo>
                <a:cubicBezTo>
                  <a:pt x="225" y="194"/>
                  <a:pt x="225" y="194"/>
                  <a:pt x="225" y="194"/>
                </a:cubicBezTo>
                <a:lnTo>
                  <a:pt x="232" y="170"/>
                </a:ln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27" name="Freeform 206"/>
          <p:cNvSpPr>
            <a:spLocks/>
          </p:cNvSpPr>
          <p:nvPr/>
        </p:nvSpPr>
        <p:spPr bwMode="auto">
          <a:xfrm>
            <a:off x="1620838" y="5362575"/>
            <a:ext cx="852487" cy="652463"/>
          </a:xfrm>
          <a:custGeom>
            <a:avLst/>
            <a:gdLst>
              <a:gd name="T0" fmla="*/ 738 w 738"/>
              <a:gd name="T1" fmla="*/ 460 h 565"/>
              <a:gd name="T2" fmla="*/ 714 w 738"/>
              <a:gd name="T3" fmla="*/ 460 h 565"/>
              <a:gd name="T4" fmla="*/ 708 w 738"/>
              <a:gd name="T5" fmla="*/ 423 h 565"/>
              <a:gd name="T6" fmla="*/ 679 w 738"/>
              <a:gd name="T7" fmla="*/ 367 h 565"/>
              <a:gd name="T8" fmla="*/ 647 w 738"/>
              <a:gd name="T9" fmla="*/ 367 h 565"/>
              <a:gd name="T10" fmla="*/ 474 w 738"/>
              <a:gd name="T11" fmla="*/ 309 h 565"/>
              <a:gd name="T12" fmla="*/ 455 w 738"/>
              <a:gd name="T13" fmla="*/ 181 h 565"/>
              <a:gd name="T14" fmla="*/ 344 w 738"/>
              <a:gd name="T15" fmla="*/ 28 h 565"/>
              <a:gd name="T16" fmla="*/ 172 w 738"/>
              <a:gd name="T17" fmla="*/ 0 h 565"/>
              <a:gd name="T18" fmla="*/ 0 w 738"/>
              <a:gd name="T19" fmla="*/ 299 h 565"/>
              <a:gd name="T20" fmla="*/ 1 w 738"/>
              <a:gd name="T21" fmla="*/ 315 h 565"/>
              <a:gd name="T22" fmla="*/ 65 w 738"/>
              <a:gd name="T23" fmla="*/ 347 h 565"/>
              <a:gd name="T24" fmla="*/ 94 w 738"/>
              <a:gd name="T25" fmla="*/ 298 h 565"/>
              <a:gd name="T26" fmla="*/ 122 w 738"/>
              <a:gd name="T27" fmla="*/ 283 h 565"/>
              <a:gd name="T28" fmla="*/ 150 w 738"/>
              <a:gd name="T29" fmla="*/ 304 h 565"/>
              <a:gd name="T30" fmla="*/ 180 w 738"/>
              <a:gd name="T31" fmla="*/ 280 h 565"/>
              <a:gd name="T32" fmla="*/ 206 w 738"/>
              <a:gd name="T33" fmla="*/ 311 h 565"/>
              <a:gd name="T34" fmla="*/ 215 w 738"/>
              <a:gd name="T35" fmla="*/ 274 h 565"/>
              <a:gd name="T36" fmla="*/ 238 w 738"/>
              <a:gd name="T37" fmla="*/ 272 h 565"/>
              <a:gd name="T38" fmla="*/ 262 w 738"/>
              <a:gd name="T39" fmla="*/ 309 h 565"/>
              <a:gd name="T40" fmla="*/ 264 w 738"/>
              <a:gd name="T41" fmla="*/ 332 h 565"/>
              <a:gd name="T42" fmla="*/ 303 w 738"/>
              <a:gd name="T43" fmla="*/ 350 h 565"/>
              <a:gd name="T44" fmla="*/ 288 w 738"/>
              <a:gd name="T45" fmla="*/ 378 h 565"/>
              <a:gd name="T46" fmla="*/ 305 w 738"/>
              <a:gd name="T47" fmla="*/ 395 h 565"/>
              <a:gd name="T48" fmla="*/ 264 w 738"/>
              <a:gd name="T49" fmla="*/ 429 h 565"/>
              <a:gd name="T50" fmla="*/ 344 w 738"/>
              <a:gd name="T51" fmla="*/ 496 h 565"/>
              <a:gd name="T52" fmla="*/ 383 w 738"/>
              <a:gd name="T53" fmla="*/ 510 h 565"/>
              <a:gd name="T54" fmla="*/ 383 w 738"/>
              <a:gd name="T55" fmla="*/ 564 h 565"/>
              <a:gd name="T56" fmla="*/ 382 w 738"/>
              <a:gd name="T57" fmla="*/ 565 h 565"/>
              <a:gd name="T58" fmla="*/ 710 w 738"/>
              <a:gd name="T59" fmla="*/ 565 h 565"/>
              <a:gd name="T60" fmla="*/ 695 w 738"/>
              <a:gd name="T61" fmla="*/ 544 h 565"/>
              <a:gd name="T62" fmla="*/ 738 w 738"/>
              <a:gd name="T63" fmla="*/ 460 h 56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738"/>
              <a:gd name="T97" fmla="*/ 0 h 565"/>
              <a:gd name="T98" fmla="*/ 738 w 738"/>
              <a:gd name="T99" fmla="*/ 565 h 56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738" h="565">
                <a:moveTo>
                  <a:pt x="738" y="460"/>
                </a:moveTo>
                <a:cubicBezTo>
                  <a:pt x="714" y="460"/>
                  <a:pt x="714" y="460"/>
                  <a:pt x="714" y="460"/>
                </a:cubicBezTo>
                <a:cubicBezTo>
                  <a:pt x="708" y="423"/>
                  <a:pt x="708" y="423"/>
                  <a:pt x="708" y="423"/>
                </a:cubicBezTo>
                <a:cubicBezTo>
                  <a:pt x="679" y="367"/>
                  <a:pt x="679" y="367"/>
                  <a:pt x="679" y="367"/>
                </a:cubicBezTo>
                <a:cubicBezTo>
                  <a:pt x="679" y="367"/>
                  <a:pt x="668" y="367"/>
                  <a:pt x="647" y="367"/>
                </a:cubicBezTo>
                <a:cubicBezTo>
                  <a:pt x="627" y="367"/>
                  <a:pt x="474" y="309"/>
                  <a:pt x="474" y="309"/>
                </a:cubicBezTo>
                <a:cubicBezTo>
                  <a:pt x="474" y="309"/>
                  <a:pt x="455" y="216"/>
                  <a:pt x="455" y="181"/>
                </a:cubicBezTo>
                <a:cubicBezTo>
                  <a:pt x="455" y="146"/>
                  <a:pt x="344" y="28"/>
                  <a:pt x="344" y="28"/>
                </a:cubicBezTo>
                <a:cubicBezTo>
                  <a:pt x="172" y="0"/>
                  <a:pt x="172" y="0"/>
                  <a:pt x="172" y="0"/>
                </a:cubicBezTo>
                <a:cubicBezTo>
                  <a:pt x="0" y="299"/>
                  <a:pt x="0" y="299"/>
                  <a:pt x="0" y="299"/>
                </a:cubicBezTo>
                <a:cubicBezTo>
                  <a:pt x="1" y="309"/>
                  <a:pt x="1" y="315"/>
                  <a:pt x="1" y="315"/>
                </a:cubicBezTo>
                <a:cubicBezTo>
                  <a:pt x="65" y="347"/>
                  <a:pt x="65" y="347"/>
                  <a:pt x="65" y="347"/>
                </a:cubicBezTo>
                <a:cubicBezTo>
                  <a:pt x="94" y="298"/>
                  <a:pt x="94" y="298"/>
                  <a:pt x="94" y="298"/>
                </a:cubicBezTo>
                <a:cubicBezTo>
                  <a:pt x="122" y="283"/>
                  <a:pt x="122" y="283"/>
                  <a:pt x="122" y="283"/>
                </a:cubicBezTo>
                <a:cubicBezTo>
                  <a:pt x="150" y="304"/>
                  <a:pt x="150" y="304"/>
                  <a:pt x="150" y="304"/>
                </a:cubicBezTo>
                <a:cubicBezTo>
                  <a:pt x="180" y="280"/>
                  <a:pt x="180" y="280"/>
                  <a:pt x="180" y="280"/>
                </a:cubicBezTo>
                <a:cubicBezTo>
                  <a:pt x="206" y="311"/>
                  <a:pt x="206" y="311"/>
                  <a:pt x="206" y="311"/>
                </a:cubicBezTo>
                <a:cubicBezTo>
                  <a:pt x="215" y="274"/>
                  <a:pt x="215" y="274"/>
                  <a:pt x="215" y="274"/>
                </a:cubicBezTo>
                <a:cubicBezTo>
                  <a:pt x="238" y="272"/>
                  <a:pt x="238" y="272"/>
                  <a:pt x="238" y="272"/>
                </a:cubicBezTo>
                <a:cubicBezTo>
                  <a:pt x="262" y="309"/>
                  <a:pt x="262" y="309"/>
                  <a:pt x="262" y="309"/>
                </a:cubicBezTo>
                <a:cubicBezTo>
                  <a:pt x="264" y="332"/>
                  <a:pt x="264" y="332"/>
                  <a:pt x="264" y="332"/>
                </a:cubicBezTo>
                <a:cubicBezTo>
                  <a:pt x="303" y="350"/>
                  <a:pt x="303" y="350"/>
                  <a:pt x="303" y="350"/>
                </a:cubicBezTo>
                <a:cubicBezTo>
                  <a:pt x="303" y="350"/>
                  <a:pt x="290" y="373"/>
                  <a:pt x="288" y="378"/>
                </a:cubicBezTo>
                <a:cubicBezTo>
                  <a:pt x="286" y="384"/>
                  <a:pt x="305" y="395"/>
                  <a:pt x="305" y="395"/>
                </a:cubicBezTo>
                <a:cubicBezTo>
                  <a:pt x="305" y="395"/>
                  <a:pt x="275" y="416"/>
                  <a:pt x="264" y="429"/>
                </a:cubicBezTo>
                <a:cubicBezTo>
                  <a:pt x="253" y="442"/>
                  <a:pt x="344" y="496"/>
                  <a:pt x="344" y="496"/>
                </a:cubicBezTo>
                <a:cubicBezTo>
                  <a:pt x="344" y="496"/>
                  <a:pt x="373" y="497"/>
                  <a:pt x="383" y="510"/>
                </a:cubicBezTo>
                <a:cubicBezTo>
                  <a:pt x="392" y="523"/>
                  <a:pt x="383" y="564"/>
                  <a:pt x="383" y="564"/>
                </a:cubicBezTo>
                <a:cubicBezTo>
                  <a:pt x="383" y="564"/>
                  <a:pt x="382" y="565"/>
                  <a:pt x="382" y="565"/>
                </a:cubicBezTo>
                <a:cubicBezTo>
                  <a:pt x="710" y="565"/>
                  <a:pt x="710" y="565"/>
                  <a:pt x="710" y="565"/>
                </a:cubicBezTo>
                <a:cubicBezTo>
                  <a:pt x="695" y="544"/>
                  <a:pt x="695" y="544"/>
                  <a:pt x="695" y="544"/>
                </a:cubicBezTo>
                <a:lnTo>
                  <a:pt x="738" y="460"/>
                </a:ln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28" name="Freeform 207"/>
          <p:cNvSpPr>
            <a:spLocks/>
          </p:cNvSpPr>
          <p:nvPr/>
        </p:nvSpPr>
        <p:spPr bwMode="auto">
          <a:xfrm>
            <a:off x="1239838" y="5508625"/>
            <a:ext cx="835025" cy="506413"/>
          </a:xfrm>
          <a:custGeom>
            <a:avLst/>
            <a:gdLst>
              <a:gd name="T0" fmla="*/ 713 w 722"/>
              <a:gd name="T1" fmla="*/ 383 h 438"/>
              <a:gd name="T2" fmla="*/ 594 w 722"/>
              <a:gd name="T3" fmla="*/ 302 h 438"/>
              <a:gd name="T4" fmla="*/ 618 w 722"/>
              <a:gd name="T5" fmla="*/ 251 h 438"/>
              <a:gd name="T6" fmla="*/ 594 w 722"/>
              <a:gd name="T7" fmla="*/ 205 h 438"/>
              <a:gd name="T8" fmla="*/ 568 w 722"/>
              <a:gd name="T9" fmla="*/ 145 h 438"/>
              <a:gd name="T10" fmla="*/ 536 w 722"/>
              <a:gd name="T11" fmla="*/ 184 h 438"/>
              <a:gd name="T12" fmla="*/ 480 w 722"/>
              <a:gd name="T13" fmla="*/ 177 h 438"/>
              <a:gd name="T14" fmla="*/ 424 w 722"/>
              <a:gd name="T15" fmla="*/ 171 h 438"/>
              <a:gd name="T16" fmla="*/ 331 w 722"/>
              <a:gd name="T17" fmla="*/ 188 h 438"/>
              <a:gd name="T18" fmla="*/ 328 w 722"/>
              <a:gd name="T19" fmla="*/ 177 h 438"/>
              <a:gd name="T20" fmla="*/ 293 w 722"/>
              <a:gd name="T21" fmla="*/ 176 h 438"/>
              <a:gd name="T22" fmla="*/ 293 w 722"/>
              <a:gd name="T23" fmla="*/ 176 h 438"/>
              <a:gd name="T24" fmla="*/ 293 w 722"/>
              <a:gd name="T25" fmla="*/ 176 h 438"/>
              <a:gd name="T26" fmla="*/ 292 w 722"/>
              <a:gd name="T27" fmla="*/ 172 h 438"/>
              <a:gd name="T28" fmla="*/ 292 w 722"/>
              <a:gd name="T29" fmla="*/ 172 h 438"/>
              <a:gd name="T30" fmla="*/ 291 w 722"/>
              <a:gd name="T31" fmla="*/ 170 h 438"/>
              <a:gd name="T32" fmla="*/ 291 w 722"/>
              <a:gd name="T33" fmla="*/ 167 h 438"/>
              <a:gd name="T34" fmla="*/ 291 w 722"/>
              <a:gd name="T35" fmla="*/ 167 h 438"/>
              <a:gd name="T36" fmla="*/ 290 w 722"/>
              <a:gd name="T37" fmla="*/ 164 h 438"/>
              <a:gd name="T38" fmla="*/ 287 w 722"/>
              <a:gd name="T39" fmla="*/ 138 h 438"/>
              <a:gd name="T40" fmla="*/ 286 w 722"/>
              <a:gd name="T41" fmla="*/ 134 h 438"/>
              <a:gd name="T42" fmla="*/ 286 w 722"/>
              <a:gd name="T43" fmla="*/ 131 h 438"/>
              <a:gd name="T44" fmla="*/ 285 w 722"/>
              <a:gd name="T45" fmla="*/ 127 h 438"/>
              <a:gd name="T46" fmla="*/ 285 w 722"/>
              <a:gd name="T47" fmla="*/ 123 h 438"/>
              <a:gd name="T48" fmla="*/ 284 w 722"/>
              <a:gd name="T49" fmla="*/ 118 h 438"/>
              <a:gd name="T50" fmla="*/ 284 w 722"/>
              <a:gd name="T51" fmla="*/ 114 h 438"/>
              <a:gd name="T52" fmla="*/ 283 w 722"/>
              <a:gd name="T53" fmla="*/ 109 h 438"/>
              <a:gd name="T54" fmla="*/ 282 w 722"/>
              <a:gd name="T55" fmla="*/ 105 h 438"/>
              <a:gd name="T56" fmla="*/ 281 w 722"/>
              <a:gd name="T57" fmla="*/ 100 h 438"/>
              <a:gd name="T58" fmla="*/ 278 w 722"/>
              <a:gd name="T59" fmla="*/ 84 h 438"/>
              <a:gd name="T60" fmla="*/ 278 w 722"/>
              <a:gd name="T61" fmla="*/ 83 h 438"/>
              <a:gd name="T62" fmla="*/ 259 w 722"/>
              <a:gd name="T63" fmla="*/ 37 h 438"/>
              <a:gd name="T64" fmla="*/ 129 w 722"/>
              <a:gd name="T65" fmla="*/ 11 h 438"/>
              <a:gd name="T66" fmla="*/ 121 w 722"/>
              <a:gd name="T67" fmla="*/ 65 h 438"/>
              <a:gd name="T68" fmla="*/ 138 w 722"/>
              <a:gd name="T69" fmla="*/ 89 h 438"/>
              <a:gd name="T70" fmla="*/ 123 w 722"/>
              <a:gd name="T71" fmla="*/ 128 h 438"/>
              <a:gd name="T72" fmla="*/ 58 w 722"/>
              <a:gd name="T73" fmla="*/ 179 h 438"/>
              <a:gd name="T74" fmla="*/ 84 w 722"/>
              <a:gd name="T75" fmla="*/ 223 h 438"/>
              <a:gd name="T76" fmla="*/ 63 w 722"/>
              <a:gd name="T77" fmla="*/ 227 h 438"/>
              <a:gd name="T78" fmla="*/ 67 w 722"/>
              <a:gd name="T79" fmla="*/ 270 h 438"/>
              <a:gd name="T80" fmla="*/ 47 w 722"/>
              <a:gd name="T81" fmla="*/ 346 h 438"/>
              <a:gd name="T82" fmla="*/ 712 w 722"/>
              <a:gd name="T83" fmla="*/ 438 h 438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722"/>
              <a:gd name="T127" fmla="*/ 0 h 438"/>
              <a:gd name="T128" fmla="*/ 722 w 722"/>
              <a:gd name="T129" fmla="*/ 438 h 438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722" h="438">
                <a:moveTo>
                  <a:pt x="713" y="437"/>
                </a:moveTo>
                <a:cubicBezTo>
                  <a:pt x="713" y="437"/>
                  <a:pt x="722" y="396"/>
                  <a:pt x="713" y="383"/>
                </a:cubicBezTo>
                <a:cubicBezTo>
                  <a:pt x="703" y="370"/>
                  <a:pt x="674" y="369"/>
                  <a:pt x="674" y="369"/>
                </a:cubicBezTo>
                <a:cubicBezTo>
                  <a:pt x="674" y="369"/>
                  <a:pt x="583" y="315"/>
                  <a:pt x="594" y="302"/>
                </a:cubicBezTo>
                <a:cubicBezTo>
                  <a:pt x="605" y="289"/>
                  <a:pt x="635" y="268"/>
                  <a:pt x="635" y="268"/>
                </a:cubicBezTo>
                <a:cubicBezTo>
                  <a:pt x="635" y="268"/>
                  <a:pt x="616" y="257"/>
                  <a:pt x="618" y="251"/>
                </a:cubicBezTo>
                <a:cubicBezTo>
                  <a:pt x="620" y="246"/>
                  <a:pt x="633" y="223"/>
                  <a:pt x="633" y="223"/>
                </a:cubicBezTo>
                <a:cubicBezTo>
                  <a:pt x="594" y="205"/>
                  <a:pt x="594" y="205"/>
                  <a:pt x="594" y="205"/>
                </a:cubicBezTo>
                <a:cubicBezTo>
                  <a:pt x="592" y="182"/>
                  <a:pt x="592" y="182"/>
                  <a:pt x="592" y="182"/>
                </a:cubicBezTo>
                <a:cubicBezTo>
                  <a:pt x="568" y="145"/>
                  <a:pt x="568" y="145"/>
                  <a:pt x="568" y="145"/>
                </a:cubicBezTo>
                <a:cubicBezTo>
                  <a:pt x="545" y="147"/>
                  <a:pt x="545" y="147"/>
                  <a:pt x="545" y="147"/>
                </a:cubicBezTo>
                <a:cubicBezTo>
                  <a:pt x="536" y="184"/>
                  <a:pt x="536" y="184"/>
                  <a:pt x="536" y="184"/>
                </a:cubicBezTo>
                <a:cubicBezTo>
                  <a:pt x="510" y="153"/>
                  <a:pt x="510" y="153"/>
                  <a:pt x="510" y="153"/>
                </a:cubicBezTo>
                <a:cubicBezTo>
                  <a:pt x="480" y="177"/>
                  <a:pt x="480" y="177"/>
                  <a:pt x="480" y="177"/>
                </a:cubicBezTo>
                <a:cubicBezTo>
                  <a:pt x="452" y="156"/>
                  <a:pt x="452" y="156"/>
                  <a:pt x="452" y="156"/>
                </a:cubicBezTo>
                <a:cubicBezTo>
                  <a:pt x="424" y="171"/>
                  <a:pt x="424" y="171"/>
                  <a:pt x="424" y="171"/>
                </a:cubicBezTo>
                <a:cubicBezTo>
                  <a:pt x="395" y="220"/>
                  <a:pt x="395" y="220"/>
                  <a:pt x="395" y="220"/>
                </a:cubicBezTo>
                <a:cubicBezTo>
                  <a:pt x="331" y="188"/>
                  <a:pt x="331" y="188"/>
                  <a:pt x="331" y="188"/>
                </a:cubicBezTo>
                <a:cubicBezTo>
                  <a:pt x="331" y="188"/>
                  <a:pt x="331" y="182"/>
                  <a:pt x="330" y="172"/>
                </a:cubicBezTo>
                <a:cubicBezTo>
                  <a:pt x="328" y="177"/>
                  <a:pt x="328" y="177"/>
                  <a:pt x="328" y="177"/>
                </a:cubicBezTo>
                <a:cubicBezTo>
                  <a:pt x="328" y="177"/>
                  <a:pt x="301" y="177"/>
                  <a:pt x="294" y="177"/>
                </a:cubicBezTo>
                <a:cubicBezTo>
                  <a:pt x="294" y="177"/>
                  <a:pt x="294" y="177"/>
                  <a:pt x="293" y="176"/>
                </a:cubicBezTo>
                <a:cubicBezTo>
                  <a:pt x="293" y="176"/>
                  <a:pt x="293" y="176"/>
                  <a:pt x="293" y="176"/>
                </a:cubicBezTo>
                <a:cubicBezTo>
                  <a:pt x="293" y="176"/>
                  <a:pt x="293" y="176"/>
                  <a:pt x="293" y="176"/>
                </a:cubicBezTo>
                <a:cubicBezTo>
                  <a:pt x="293" y="176"/>
                  <a:pt x="293" y="176"/>
                  <a:pt x="293" y="176"/>
                </a:cubicBezTo>
                <a:cubicBezTo>
                  <a:pt x="293" y="176"/>
                  <a:pt x="293" y="176"/>
                  <a:pt x="293" y="176"/>
                </a:cubicBezTo>
                <a:cubicBezTo>
                  <a:pt x="293" y="176"/>
                  <a:pt x="293" y="176"/>
                  <a:pt x="293" y="176"/>
                </a:cubicBezTo>
                <a:cubicBezTo>
                  <a:pt x="292" y="175"/>
                  <a:pt x="292" y="174"/>
                  <a:pt x="292" y="172"/>
                </a:cubicBezTo>
                <a:cubicBezTo>
                  <a:pt x="292" y="172"/>
                  <a:pt x="292" y="172"/>
                  <a:pt x="292" y="172"/>
                </a:cubicBezTo>
                <a:cubicBezTo>
                  <a:pt x="292" y="172"/>
                  <a:pt x="292" y="172"/>
                  <a:pt x="292" y="172"/>
                </a:cubicBezTo>
                <a:cubicBezTo>
                  <a:pt x="291" y="171"/>
                  <a:pt x="291" y="171"/>
                  <a:pt x="291" y="170"/>
                </a:cubicBezTo>
                <a:cubicBezTo>
                  <a:pt x="291" y="170"/>
                  <a:pt x="291" y="170"/>
                  <a:pt x="291" y="170"/>
                </a:cubicBezTo>
                <a:cubicBezTo>
                  <a:pt x="291" y="170"/>
                  <a:pt x="291" y="170"/>
                  <a:pt x="291" y="170"/>
                </a:cubicBezTo>
                <a:cubicBezTo>
                  <a:pt x="291" y="169"/>
                  <a:pt x="291" y="168"/>
                  <a:pt x="291" y="167"/>
                </a:cubicBezTo>
                <a:cubicBezTo>
                  <a:pt x="291" y="167"/>
                  <a:pt x="291" y="167"/>
                  <a:pt x="291" y="167"/>
                </a:cubicBezTo>
                <a:cubicBezTo>
                  <a:pt x="291" y="167"/>
                  <a:pt x="291" y="167"/>
                  <a:pt x="291" y="167"/>
                </a:cubicBezTo>
                <a:cubicBezTo>
                  <a:pt x="290" y="166"/>
                  <a:pt x="290" y="165"/>
                  <a:pt x="290" y="164"/>
                </a:cubicBezTo>
                <a:cubicBezTo>
                  <a:pt x="290" y="164"/>
                  <a:pt x="290" y="164"/>
                  <a:pt x="290" y="164"/>
                </a:cubicBezTo>
                <a:cubicBezTo>
                  <a:pt x="290" y="164"/>
                  <a:pt x="290" y="164"/>
                  <a:pt x="290" y="164"/>
                </a:cubicBezTo>
                <a:cubicBezTo>
                  <a:pt x="289" y="157"/>
                  <a:pt x="288" y="148"/>
                  <a:pt x="287" y="138"/>
                </a:cubicBezTo>
                <a:cubicBezTo>
                  <a:pt x="287" y="137"/>
                  <a:pt x="287" y="137"/>
                  <a:pt x="287" y="137"/>
                </a:cubicBezTo>
                <a:cubicBezTo>
                  <a:pt x="287" y="136"/>
                  <a:pt x="287" y="135"/>
                  <a:pt x="286" y="134"/>
                </a:cubicBezTo>
                <a:cubicBezTo>
                  <a:pt x="286" y="134"/>
                  <a:pt x="286" y="133"/>
                  <a:pt x="286" y="133"/>
                </a:cubicBezTo>
                <a:cubicBezTo>
                  <a:pt x="286" y="132"/>
                  <a:pt x="286" y="131"/>
                  <a:pt x="286" y="131"/>
                </a:cubicBezTo>
                <a:cubicBezTo>
                  <a:pt x="286" y="130"/>
                  <a:pt x="286" y="129"/>
                  <a:pt x="286" y="128"/>
                </a:cubicBezTo>
                <a:cubicBezTo>
                  <a:pt x="286" y="128"/>
                  <a:pt x="286" y="127"/>
                  <a:pt x="285" y="127"/>
                </a:cubicBezTo>
                <a:cubicBezTo>
                  <a:pt x="285" y="126"/>
                  <a:pt x="285" y="125"/>
                  <a:pt x="285" y="124"/>
                </a:cubicBezTo>
                <a:cubicBezTo>
                  <a:pt x="285" y="123"/>
                  <a:pt x="285" y="123"/>
                  <a:pt x="285" y="123"/>
                </a:cubicBezTo>
                <a:cubicBezTo>
                  <a:pt x="285" y="122"/>
                  <a:pt x="285" y="120"/>
                  <a:pt x="285" y="119"/>
                </a:cubicBezTo>
                <a:cubicBezTo>
                  <a:pt x="284" y="119"/>
                  <a:pt x="284" y="119"/>
                  <a:pt x="284" y="118"/>
                </a:cubicBezTo>
                <a:cubicBezTo>
                  <a:pt x="284" y="117"/>
                  <a:pt x="284" y="116"/>
                  <a:pt x="284" y="115"/>
                </a:cubicBezTo>
                <a:cubicBezTo>
                  <a:pt x="284" y="115"/>
                  <a:pt x="284" y="114"/>
                  <a:pt x="284" y="114"/>
                </a:cubicBezTo>
                <a:cubicBezTo>
                  <a:pt x="284" y="113"/>
                  <a:pt x="283" y="112"/>
                  <a:pt x="283" y="110"/>
                </a:cubicBezTo>
                <a:cubicBezTo>
                  <a:pt x="283" y="110"/>
                  <a:pt x="283" y="110"/>
                  <a:pt x="283" y="109"/>
                </a:cubicBezTo>
                <a:cubicBezTo>
                  <a:pt x="283" y="108"/>
                  <a:pt x="283" y="107"/>
                  <a:pt x="282" y="105"/>
                </a:cubicBezTo>
                <a:cubicBezTo>
                  <a:pt x="282" y="105"/>
                  <a:pt x="282" y="105"/>
                  <a:pt x="282" y="105"/>
                </a:cubicBezTo>
                <a:cubicBezTo>
                  <a:pt x="282" y="104"/>
                  <a:pt x="282" y="102"/>
                  <a:pt x="281" y="101"/>
                </a:cubicBezTo>
                <a:cubicBezTo>
                  <a:pt x="281" y="100"/>
                  <a:pt x="281" y="100"/>
                  <a:pt x="281" y="100"/>
                </a:cubicBezTo>
                <a:cubicBezTo>
                  <a:pt x="281" y="100"/>
                  <a:pt x="281" y="100"/>
                  <a:pt x="281" y="100"/>
                </a:cubicBezTo>
                <a:cubicBezTo>
                  <a:pt x="280" y="95"/>
                  <a:pt x="279" y="89"/>
                  <a:pt x="278" y="84"/>
                </a:cubicBezTo>
                <a:cubicBezTo>
                  <a:pt x="278" y="84"/>
                  <a:pt x="278" y="84"/>
                  <a:pt x="278" y="84"/>
                </a:cubicBezTo>
                <a:cubicBezTo>
                  <a:pt x="278" y="84"/>
                  <a:pt x="278" y="83"/>
                  <a:pt x="278" y="83"/>
                </a:cubicBezTo>
                <a:cubicBezTo>
                  <a:pt x="278" y="82"/>
                  <a:pt x="277" y="81"/>
                  <a:pt x="277" y="79"/>
                </a:cubicBezTo>
                <a:cubicBezTo>
                  <a:pt x="273" y="63"/>
                  <a:pt x="267" y="48"/>
                  <a:pt x="259" y="37"/>
                </a:cubicBezTo>
                <a:cubicBezTo>
                  <a:pt x="229" y="0"/>
                  <a:pt x="127" y="17"/>
                  <a:pt x="127" y="17"/>
                </a:cubicBezTo>
                <a:cubicBezTo>
                  <a:pt x="127" y="17"/>
                  <a:pt x="128" y="15"/>
                  <a:pt x="129" y="11"/>
                </a:cubicBezTo>
                <a:cubicBezTo>
                  <a:pt x="125" y="13"/>
                  <a:pt x="122" y="16"/>
                  <a:pt x="121" y="19"/>
                </a:cubicBezTo>
                <a:cubicBezTo>
                  <a:pt x="117" y="28"/>
                  <a:pt x="121" y="65"/>
                  <a:pt x="121" y="65"/>
                </a:cubicBezTo>
                <a:cubicBezTo>
                  <a:pt x="138" y="67"/>
                  <a:pt x="138" y="67"/>
                  <a:pt x="138" y="67"/>
                </a:cubicBezTo>
                <a:cubicBezTo>
                  <a:pt x="138" y="89"/>
                  <a:pt x="138" y="89"/>
                  <a:pt x="138" y="89"/>
                </a:cubicBezTo>
                <a:cubicBezTo>
                  <a:pt x="138" y="89"/>
                  <a:pt x="160" y="86"/>
                  <a:pt x="153" y="97"/>
                </a:cubicBezTo>
                <a:cubicBezTo>
                  <a:pt x="145" y="108"/>
                  <a:pt x="123" y="128"/>
                  <a:pt x="123" y="128"/>
                </a:cubicBezTo>
                <a:cubicBezTo>
                  <a:pt x="108" y="108"/>
                  <a:pt x="108" y="108"/>
                  <a:pt x="108" y="108"/>
                </a:cubicBezTo>
                <a:cubicBezTo>
                  <a:pt x="108" y="108"/>
                  <a:pt x="48" y="162"/>
                  <a:pt x="58" y="179"/>
                </a:cubicBezTo>
                <a:cubicBezTo>
                  <a:pt x="67" y="195"/>
                  <a:pt x="97" y="207"/>
                  <a:pt x="97" y="207"/>
                </a:cubicBezTo>
                <a:cubicBezTo>
                  <a:pt x="84" y="223"/>
                  <a:pt x="84" y="223"/>
                  <a:pt x="84" y="223"/>
                </a:cubicBezTo>
                <a:cubicBezTo>
                  <a:pt x="87" y="251"/>
                  <a:pt x="87" y="251"/>
                  <a:pt x="87" y="251"/>
                </a:cubicBezTo>
                <a:cubicBezTo>
                  <a:pt x="63" y="227"/>
                  <a:pt x="63" y="227"/>
                  <a:pt x="63" y="227"/>
                </a:cubicBezTo>
                <a:cubicBezTo>
                  <a:pt x="63" y="227"/>
                  <a:pt x="32" y="235"/>
                  <a:pt x="41" y="240"/>
                </a:cubicBezTo>
                <a:cubicBezTo>
                  <a:pt x="50" y="246"/>
                  <a:pt x="67" y="270"/>
                  <a:pt x="67" y="270"/>
                </a:cubicBezTo>
                <a:cubicBezTo>
                  <a:pt x="80" y="316"/>
                  <a:pt x="80" y="316"/>
                  <a:pt x="80" y="316"/>
                </a:cubicBezTo>
                <a:cubicBezTo>
                  <a:pt x="47" y="346"/>
                  <a:pt x="47" y="346"/>
                  <a:pt x="47" y="346"/>
                </a:cubicBezTo>
                <a:cubicBezTo>
                  <a:pt x="47" y="346"/>
                  <a:pt x="7" y="411"/>
                  <a:pt x="0" y="438"/>
                </a:cubicBezTo>
                <a:cubicBezTo>
                  <a:pt x="712" y="438"/>
                  <a:pt x="712" y="438"/>
                  <a:pt x="712" y="438"/>
                </a:cubicBezTo>
                <a:cubicBezTo>
                  <a:pt x="712" y="438"/>
                  <a:pt x="713" y="437"/>
                  <a:pt x="713" y="437"/>
                </a:cubicBez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29" name="Freeform 208"/>
          <p:cNvSpPr>
            <a:spLocks/>
          </p:cNvSpPr>
          <p:nvPr/>
        </p:nvSpPr>
        <p:spPr bwMode="auto">
          <a:xfrm>
            <a:off x="1379538" y="4506913"/>
            <a:ext cx="2835275" cy="1508125"/>
          </a:xfrm>
          <a:custGeom>
            <a:avLst/>
            <a:gdLst>
              <a:gd name="T0" fmla="*/ 157 w 2454"/>
              <a:gd name="T1" fmla="*/ 951 h 1305"/>
              <a:gd name="T2" fmla="*/ 160 w 2454"/>
              <a:gd name="T3" fmla="*/ 967 h 1305"/>
              <a:gd name="T4" fmla="*/ 162 w 2454"/>
              <a:gd name="T5" fmla="*/ 977 h 1305"/>
              <a:gd name="T6" fmla="*/ 164 w 2454"/>
              <a:gd name="T7" fmla="*/ 986 h 1305"/>
              <a:gd name="T8" fmla="*/ 165 w 2454"/>
              <a:gd name="T9" fmla="*/ 995 h 1305"/>
              <a:gd name="T10" fmla="*/ 166 w 2454"/>
              <a:gd name="T11" fmla="*/ 1004 h 1305"/>
              <a:gd name="T12" fmla="*/ 169 w 2454"/>
              <a:gd name="T13" fmla="*/ 1031 h 1305"/>
              <a:gd name="T14" fmla="*/ 170 w 2454"/>
              <a:gd name="T15" fmla="*/ 1037 h 1305"/>
              <a:gd name="T16" fmla="*/ 171 w 2454"/>
              <a:gd name="T17" fmla="*/ 1039 h 1305"/>
              <a:gd name="T18" fmla="*/ 172 w 2454"/>
              <a:gd name="T19" fmla="*/ 1043 h 1305"/>
              <a:gd name="T20" fmla="*/ 172 w 2454"/>
              <a:gd name="T21" fmla="*/ 1043 h 1305"/>
              <a:gd name="T22" fmla="*/ 209 w 2454"/>
              <a:gd name="T23" fmla="*/ 1039 h 1305"/>
              <a:gd name="T24" fmla="*/ 683 w 2454"/>
              <a:gd name="T25" fmla="*/ 1049 h 1305"/>
              <a:gd name="T26" fmla="*/ 923 w 2454"/>
              <a:gd name="T27" fmla="*/ 1200 h 1305"/>
              <a:gd name="T28" fmla="*/ 1953 w 2454"/>
              <a:gd name="T29" fmla="*/ 1305 h 1305"/>
              <a:gd name="T30" fmla="*/ 2064 w 2454"/>
              <a:gd name="T31" fmla="*/ 1221 h 1305"/>
              <a:gd name="T32" fmla="*/ 2125 w 2454"/>
              <a:gd name="T33" fmla="*/ 1228 h 1305"/>
              <a:gd name="T34" fmla="*/ 2270 w 2454"/>
              <a:gd name="T35" fmla="*/ 1085 h 1305"/>
              <a:gd name="T36" fmla="*/ 2423 w 2454"/>
              <a:gd name="T37" fmla="*/ 932 h 1305"/>
              <a:gd name="T38" fmla="*/ 2382 w 2454"/>
              <a:gd name="T39" fmla="*/ 849 h 1305"/>
              <a:gd name="T40" fmla="*/ 2311 w 2454"/>
              <a:gd name="T41" fmla="*/ 790 h 1305"/>
              <a:gd name="T42" fmla="*/ 2121 w 2454"/>
              <a:gd name="T43" fmla="*/ 707 h 1305"/>
              <a:gd name="T44" fmla="*/ 2052 w 2454"/>
              <a:gd name="T45" fmla="*/ 682 h 1305"/>
              <a:gd name="T46" fmla="*/ 1914 w 2454"/>
              <a:gd name="T47" fmla="*/ 324 h 1305"/>
              <a:gd name="T48" fmla="*/ 1818 w 2454"/>
              <a:gd name="T49" fmla="*/ 332 h 1305"/>
              <a:gd name="T50" fmla="*/ 1721 w 2454"/>
              <a:gd name="T51" fmla="*/ 353 h 1305"/>
              <a:gd name="T52" fmla="*/ 1694 w 2454"/>
              <a:gd name="T53" fmla="*/ 314 h 1305"/>
              <a:gd name="T54" fmla="*/ 1593 w 2454"/>
              <a:gd name="T55" fmla="*/ 272 h 1305"/>
              <a:gd name="T56" fmla="*/ 1558 w 2454"/>
              <a:gd name="T57" fmla="*/ 163 h 1305"/>
              <a:gd name="T58" fmla="*/ 1260 w 2454"/>
              <a:gd name="T59" fmla="*/ 154 h 1305"/>
              <a:gd name="T60" fmla="*/ 1042 w 2454"/>
              <a:gd name="T61" fmla="*/ 93 h 1305"/>
              <a:gd name="T62" fmla="*/ 1074 w 2454"/>
              <a:gd name="T63" fmla="*/ 200 h 1305"/>
              <a:gd name="T64" fmla="*/ 911 w 2454"/>
              <a:gd name="T65" fmla="*/ 245 h 1305"/>
              <a:gd name="T66" fmla="*/ 972 w 2454"/>
              <a:gd name="T67" fmla="*/ 334 h 1305"/>
              <a:gd name="T68" fmla="*/ 839 w 2454"/>
              <a:gd name="T69" fmla="*/ 363 h 1305"/>
              <a:gd name="T70" fmla="*/ 728 w 2454"/>
              <a:gd name="T71" fmla="*/ 275 h 1305"/>
              <a:gd name="T72" fmla="*/ 636 w 2454"/>
              <a:gd name="T73" fmla="*/ 250 h 1305"/>
              <a:gd name="T74" fmla="*/ 538 w 2454"/>
              <a:gd name="T75" fmla="*/ 140 h 1305"/>
              <a:gd name="T76" fmla="*/ 450 w 2454"/>
              <a:gd name="T77" fmla="*/ 57 h 1305"/>
              <a:gd name="T78" fmla="*/ 314 w 2454"/>
              <a:gd name="T79" fmla="*/ 9 h 1305"/>
              <a:gd name="T80" fmla="*/ 195 w 2454"/>
              <a:gd name="T81" fmla="*/ 72 h 1305"/>
              <a:gd name="T82" fmla="*/ 87 w 2454"/>
              <a:gd name="T83" fmla="*/ 59 h 1305"/>
              <a:gd name="T84" fmla="*/ 44 w 2454"/>
              <a:gd name="T85" fmla="*/ 160 h 1305"/>
              <a:gd name="T86" fmla="*/ 31 w 2454"/>
              <a:gd name="T87" fmla="*/ 334 h 1305"/>
              <a:gd name="T88" fmla="*/ 67 w 2454"/>
              <a:gd name="T89" fmla="*/ 370 h 1305"/>
              <a:gd name="T90" fmla="*/ 298 w 2454"/>
              <a:gd name="T91" fmla="*/ 482 h 1305"/>
              <a:gd name="T92" fmla="*/ 234 w 2454"/>
              <a:gd name="T93" fmla="*/ 608 h 1305"/>
              <a:gd name="T94" fmla="*/ 22 w 2454"/>
              <a:gd name="T95" fmla="*/ 567 h 1305"/>
              <a:gd name="T96" fmla="*/ 0 w 2454"/>
              <a:gd name="T97" fmla="*/ 724 h 1305"/>
              <a:gd name="T98" fmla="*/ 63 w 2454"/>
              <a:gd name="T99" fmla="*/ 804 h 1305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2454"/>
              <a:gd name="T151" fmla="*/ 0 h 1305"/>
              <a:gd name="T152" fmla="*/ 2454 w 2454"/>
              <a:gd name="T153" fmla="*/ 1305 h 1305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2454" h="1305">
                <a:moveTo>
                  <a:pt x="138" y="904"/>
                </a:moveTo>
                <a:cubicBezTo>
                  <a:pt x="146" y="915"/>
                  <a:pt x="152" y="930"/>
                  <a:pt x="156" y="946"/>
                </a:cubicBezTo>
                <a:cubicBezTo>
                  <a:pt x="156" y="948"/>
                  <a:pt x="157" y="949"/>
                  <a:pt x="157" y="951"/>
                </a:cubicBezTo>
                <a:cubicBezTo>
                  <a:pt x="157" y="951"/>
                  <a:pt x="157" y="951"/>
                  <a:pt x="157" y="951"/>
                </a:cubicBezTo>
                <a:cubicBezTo>
                  <a:pt x="157" y="951"/>
                  <a:pt x="157" y="951"/>
                  <a:pt x="157" y="951"/>
                </a:cubicBezTo>
                <a:cubicBezTo>
                  <a:pt x="158" y="956"/>
                  <a:pt x="159" y="962"/>
                  <a:pt x="160" y="967"/>
                </a:cubicBezTo>
                <a:cubicBezTo>
                  <a:pt x="160" y="967"/>
                  <a:pt x="160" y="967"/>
                  <a:pt x="160" y="967"/>
                </a:cubicBezTo>
                <a:cubicBezTo>
                  <a:pt x="160" y="967"/>
                  <a:pt x="160" y="967"/>
                  <a:pt x="160" y="967"/>
                </a:cubicBezTo>
                <a:cubicBezTo>
                  <a:pt x="161" y="969"/>
                  <a:pt x="161" y="970"/>
                  <a:pt x="161" y="972"/>
                </a:cubicBezTo>
                <a:cubicBezTo>
                  <a:pt x="161" y="972"/>
                  <a:pt x="161" y="972"/>
                  <a:pt x="161" y="972"/>
                </a:cubicBezTo>
                <a:cubicBezTo>
                  <a:pt x="162" y="974"/>
                  <a:pt x="162" y="975"/>
                  <a:pt x="162" y="976"/>
                </a:cubicBezTo>
                <a:cubicBezTo>
                  <a:pt x="162" y="977"/>
                  <a:pt x="162" y="977"/>
                  <a:pt x="162" y="977"/>
                </a:cubicBezTo>
                <a:cubicBezTo>
                  <a:pt x="162" y="979"/>
                  <a:pt x="163" y="980"/>
                  <a:pt x="163" y="981"/>
                </a:cubicBezTo>
                <a:cubicBezTo>
                  <a:pt x="163" y="981"/>
                  <a:pt x="163" y="982"/>
                  <a:pt x="163" y="982"/>
                </a:cubicBezTo>
                <a:cubicBezTo>
                  <a:pt x="163" y="983"/>
                  <a:pt x="163" y="984"/>
                  <a:pt x="163" y="985"/>
                </a:cubicBezTo>
                <a:cubicBezTo>
                  <a:pt x="163" y="986"/>
                  <a:pt x="163" y="986"/>
                  <a:pt x="164" y="986"/>
                </a:cubicBezTo>
                <a:cubicBezTo>
                  <a:pt x="164" y="987"/>
                  <a:pt x="164" y="989"/>
                  <a:pt x="164" y="990"/>
                </a:cubicBezTo>
                <a:cubicBezTo>
                  <a:pt x="164" y="990"/>
                  <a:pt x="164" y="990"/>
                  <a:pt x="164" y="991"/>
                </a:cubicBezTo>
                <a:cubicBezTo>
                  <a:pt x="164" y="992"/>
                  <a:pt x="164" y="993"/>
                  <a:pt x="164" y="994"/>
                </a:cubicBezTo>
                <a:cubicBezTo>
                  <a:pt x="165" y="994"/>
                  <a:pt x="165" y="995"/>
                  <a:pt x="165" y="995"/>
                </a:cubicBezTo>
                <a:cubicBezTo>
                  <a:pt x="165" y="996"/>
                  <a:pt x="165" y="997"/>
                  <a:pt x="165" y="998"/>
                </a:cubicBezTo>
                <a:cubicBezTo>
                  <a:pt x="165" y="998"/>
                  <a:pt x="165" y="999"/>
                  <a:pt x="165" y="1000"/>
                </a:cubicBezTo>
                <a:cubicBezTo>
                  <a:pt x="165" y="1000"/>
                  <a:pt x="165" y="1001"/>
                  <a:pt x="165" y="1001"/>
                </a:cubicBezTo>
                <a:cubicBezTo>
                  <a:pt x="166" y="1002"/>
                  <a:pt x="166" y="1003"/>
                  <a:pt x="166" y="1004"/>
                </a:cubicBezTo>
                <a:cubicBezTo>
                  <a:pt x="166" y="1004"/>
                  <a:pt x="166" y="1004"/>
                  <a:pt x="166" y="1005"/>
                </a:cubicBezTo>
                <a:cubicBezTo>
                  <a:pt x="167" y="1015"/>
                  <a:pt x="168" y="1024"/>
                  <a:pt x="169" y="1031"/>
                </a:cubicBezTo>
                <a:cubicBezTo>
                  <a:pt x="169" y="1031"/>
                  <a:pt x="169" y="1031"/>
                  <a:pt x="169" y="1031"/>
                </a:cubicBezTo>
                <a:cubicBezTo>
                  <a:pt x="169" y="1031"/>
                  <a:pt x="169" y="1031"/>
                  <a:pt x="169" y="1031"/>
                </a:cubicBezTo>
                <a:cubicBezTo>
                  <a:pt x="169" y="1032"/>
                  <a:pt x="169" y="1033"/>
                  <a:pt x="170" y="1034"/>
                </a:cubicBezTo>
                <a:cubicBezTo>
                  <a:pt x="170" y="1034"/>
                  <a:pt x="170" y="1034"/>
                  <a:pt x="170" y="1034"/>
                </a:cubicBezTo>
                <a:cubicBezTo>
                  <a:pt x="170" y="1034"/>
                  <a:pt x="170" y="1034"/>
                  <a:pt x="170" y="1034"/>
                </a:cubicBezTo>
                <a:cubicBezTo>
                  <a:pt x="170" y="1035"/>
                  <a:pt x="170" y="1036"/>
                  <a:pt x="170" y="1037"/>
                </a:cubicBezTo>
                <a:cubicBezTo>
                  <a:pt x="170" y="1037"/>
                  <a:pt x="170" y="1037"/>
                  <a:pt x="170" y="1037"/>
                </a:cubicBezTo>
                <a:cubicBezTo>
                  <a:pt x="170" y="1037"/>
                  <a:pt x="170" y="1037"/>
                  <a:pt x="170" y="1037"/>
                </a:cubicBezTo>
                <a:cubicBezTo>
                  <a:pt x="170" y="1038"/>
                  <a:pt x="170" y="1038"/>
                  <a:pt x="171" y="1039"/>
                </a:cubicBezTo>
                <a:cubicBezTo>
                  <a:pt x="171" y="1039"/>
                  <a:pt x="171" y="1039"/>
                  <a:pt x="171" y="1039"/>
                </a:cubicBezTo>
                <a:cubicBezTo>
                  <a:pt x="171" y="1039"/>
                  <a:pt x="171" y="1040"/>
                  <a:pt x="171" y="1040"/>
                </a:cubicBezTo>
                <a:cubicBezTo>
                  <a:pt x="171" y="1040"/>
                  <a:pt x="171" y="1041"/>
                  <a:pt x="171" y="1041"/>
                </a:cubicBezTo>
                <a:cubicBezTo>
                  <a:pt x="171" y="1041"/>
                  <a:pt x="171" y="1041"/>
                  <a:pt x="171" y="1041"/>
                </a:cubicBezTo>
                <a:cubicBezTo>
                  <a:pt x="171" y="1042"/>
                  <a:pt x="172" y="1042"/>
                  <a:pt x="172" y="1043"/>
                </a:cubicBezTo>
                <a:cubicBezTo>
                  <a:pt x="172" y="1043"/>
                  <a:pt x="172" y="1043"/>
                  <a:pt x="172" y="1043"/>
                </a:cubicBezTo>
                <a:cubicBezTo>
                  <a:pt x="172" y="1043"/>
                  <a:pt x="172" y="1043"/>
                  <a:pt x="172" y="1043"/>
                </a:cubicBezTo>
                <a:cubicBezTo>
                  <a:pt x="172" y="1043"/>
                  <a:pt x="172" y="1043"/>
                  <a:pt x="172" y="1043"/>
                </a:cubicBezTo>
                <a:cubicBezTo>
                  <a:pt x="172" y="1043"/>
                  <a:pt x="172" y="1043"/>
                  <a:pt x="172" y="1043"/>
                </a:cubicBezTo>
                <a:cubicBezTo>
                  <a:pt x="172" y="1044"/>
                  <a:pt x="172" y="1044"/>
                  <a:pt x="172" y="1044"/>
                </a:cubicBezTo>
                <a:cubicBezTo>
                  <a:pt x="173" y="1044"/>
                  <a:pt x="173" y="1044"/>
                  <a:pt x="173" y="1044"/>
                </a:cubicBezTo>
                <a:cubicBezTo>
                  <a:pt x="180" y="1044"/>
                  <a:pt x="207" y="1044"/>
                  <a:pt x="207" y="1044"/>
                </a:cubicBezTo>
                <a:cubicBezTo>
                  <a:pt x="209" y="1039"/>
                  <a:pt x="209" y="1039"/>
                  <a:pt x="209" y="1039"/>
                </a:cubicBezTo>
                <a:cubicBezTo>
                  <a:pt x="381" y="740"/>
                  <a:pt x="381" y="740"/>
                  <a:pt x="381" y="740"/>
                </a:cubicBezTo>
                <a:cubicBezTo>
                  <a:pt x="553" y="768"/>
                  <a:pt x="553" y="768"/>
                  <a:pt x="553" y="768"/>
                </a:cubicBezTo>
                <a:cubicBezTo>
                  <a:pt x="553" y="768"/>
                  <a:pt x="664" y="886"/>
                  <a:pt x="664" y="921"/>
                </a:cubicBezTo>
                <a:cubicBezTo>
                  <a:pt x="664" y="956"/>
                  <a:pt x="683" y="1049"/>
                  <a:pt x="683" y="1049"/>
                </a:cubicBezTo>
                <a:cubicBezTo>
                  <a:pt x="683" y="1049"/>
                  <a:pt x="836" y="1107"/>
                  <a:pt x="856" y="1107"/>
                </a:cubicBezTo>
                <a:cubicBezTo>
                  <a:pt x="877" y="1107"/>
                  <a:pt x="888" y="1107"/>
                  <a:pt x="888" y="1107"/>
                </a:cubicBezTo>
                <a:cubicBezTo>
                  <a:pt x="917" y="1163"/>
                  <a:pt x="917" y="1163"/>
                  <a:pt x="917" y="1163"/>
                </a:cubicBezTo>
                <a:cubicBezTo>
                  <a:pt x="923" y="1200"/>
                  <a:pt x="923" y="1200"/>
                  <a:pt x="923" y="1200"/>
                </a:cubicBezTo>
                <a:cubicBezTo>
                  <a:pt x="947" y="1200"/>
                  <a:pt x="947" y="1200"/>
                  <a:pt x="947" y="1200"/>
                </a:cubicBezTo>
                <a:cubicBezTo>
                  <a:pt x="904" y="1284"/>
                  <a:pt x="904" y="1284"/>
                  <a:pt x="904" y="1284"/>
                </a:cubicBezTo>
                <a:cubicBezTo>
                  <a:pt x="919" y="1305"/>
                  <a:pt x="919" y="1305"/>
                  <a:pt x="919" y="1305"/>
                </a:cubicBezTo>
                <a:cubicBezTo>
                  <a:pt x="1953" y="1305"/>
                  <a:pt x="1953" y="1305"/>
                  <a:pt x="1953" y="1305"/>
                </a:cubicBezTo>
                <a:cubicBezTo>
                  <a:pt x="1955" y="1299"/>
                  <a:pt x="1956" y="1295"/>
                  <a:pt x="1958" y="1293"/>
                </a:cubicBezTo>
                <a:cubicBezTo>
                  <a:pt x="1965" y="1286"/>
                  <a:pt x="1971" y="1267"/>
                  <a:pt x="1971" y="1267"/>
                </a:cubicBezTo>
                <a:cubicBezTo>
                  <a:pt x="1971" y="1267"/>
                  <a:pt x="1893" y="1243"/>
                  <a:pt x="1935" y="1239"/>
                </a:cubicBezTo>
                <a:cubicBezTo>
                  <a:pt x="1978" y="1236"/>
                  <a:pt x="2064" y="1221"/>
                  <a:pt x="2064" y="1221"/>
                </a:cubicBezTo>
                <a:cubicBezTo>
                  <a:pt x="2079" y="1243"/>
                  <a:pt x="2079" y="1243"/>
                  <a:pt x="2079" y="1243"/>
                </a:cubicBezTo>
                <a:cubicBezTo>
                  <a:pt x="2097" y="1239"/>
                  <a:pt x="2097" y="1239"/>
                  <a:pt x="2097" y="1239"/>
                </a:cubicBezTo>
                <a:cubicBezTo>
                  <a:pt x="2110" y="1250"/>
                  <a:pt x="2110" y="1250"/>
                  <a:pt x="2110" y="1250"/>
                </a:cubicBezTo>
                <a:cubicBezTo>
                  <a:pt x="2125" y="1228"/>
                  <a:pt x="2125" y="1228"/>
                  <a:pt x="2125" y="1228"/>
                </a:cubicBezTo>
                <a:cubicBezTo>
                  <a:pt x="2109" y="1209"/>
                  <a:pt x="2109" y="1209"/>
                  <a:pt x="2109" y="1209"/>
                </a:cubicBezTo>
                <a:cubicBezTo>
                  <a:pt x="2174" y="1055"/>
                  <a:pt x="2174" y="1055"/>
                  <a:pt x="2174" y="1055"/>
                </a:cubicBezTo>
                <a:cubicBezTo>
                  <a:pt x="2174" y="1055"/>
                  <a:pt x="2207" y="1085"/>
                  <a:pt x="2231" y="1085"/>
                </a:cubicBezTo>
                <a:cubicBezTo>
                  <a:pt x="2256" y="1085"/>
                  <a:pt x="2270" y="1085"/>
                  <a:pt x="2270" y="1085"/>
                </a:cubicBezTo>
                <a:cubicBezTo>
                  <a:pt x="2304" y="1107"/>
                  <a:pt x="2304" y="1107"/>
                  <a:pt x="2304" y="1107"/>
                </a:cubicBezTo>
                <a:cubicBezTo>
                  <a:pt x="2304" y="1107"/>
                  <a:pt x="2313" y="1087"/>
                  <a:pt x="2326" y="1083"/>
                </a:cubicBezTo>
                <a:cubicBezTo>
                  <a:pt x="2339" y="1079"/>
                  <a:pt x="2339" y="1010"/>
                  <a:pt x="2347" y="990"/>
                </a:cubicBezTo>
                <a:cubicBezTo>
                  <a:pt x="2354" y="969"/>
                  <a:pt x="2414" y="945"/>
                  <a:pt x="2423" y="932"/>
                </a:cubicBezTo>
                <a:cubicBezTo>
                  <a:pt x="2432" y="919"/>
                  <a:pt x="2444" y="889"/>
                  <a:pt x="2444" y="889"/>
                </a:cubicBezTo>
                <a:cubicBezTo>
                  <a:pt x="2444" y="889"/>
                  <a:pt x="2448" y="882"/>
                  <a:pt x="2454" y="873"/>
                </a:cubicBezTo>
                <a:cubicBezTo>
                  <a:pt x="2440" y="860"/>
                  <a:pt x="2429" y="839"/>
                  <a:pt x="2428" y="823"/>
                </a:cubicBezTo>
                <a:cubicBezTo>
                  <a:pt x="2428" y="823"/>
                  <a:pt x="2392" y="854"/>
                  <a:pt x="2382" y="849"/>
                </a:cubicBezTo>
                <a:cubicBezTo>
                  <a:pt x="2371" y="844"/>
                  <a:pt x="2375" y="838"/>
                  <a:pt x="2364" y="838"/>
                </a:cubicBezTo>
                <a:cubicBezTo>
                  <a:pt x="2353" y="838"/>
                  <a:pt x="2347" y="840"/>
                  <a:pt x="2340" y="836"/>
                </a:cubicBezTo>
                <a:cubicBezTo>
                  <a:pt x="2334" y="831"/>
                  <a:pt x="2342" y="803"/>
                  <a:pt x="2315" y="791"/>
                </a:cubicBezTo>
                <a:cubicBezTo>
                  <a:pt x="2314" y="791"/>
                  <a:pt x="2312" y="790"/>
                  <a:pt x="2311" y="790"/>
                </a:cubicBezTo>
                <a:cubicBezTo>
                  <a:pt x="2287" y="779"/>
                  <a:pt x="2280" y="775"/>
                  <a:pt x="2279" y="774"/>
                </a:cubicBezTo>
                <a:cubicBezTo>
                  <a:pt x="2278" y="772"/>
                  <a:pt x="2278" y="726"/>
                  <a:pt x="2255" y="708"/>
                </a:cubicBezTo>
                <a:cubicBezTo>
                  <a:pt x="2232" y="691"/>
                  <a:pt x="2196" y="697"/>
                  <a:pt x="2183" y="714"/>
                </a:cubicBezTo>
                <a:cubicBezTo>
                  <a:pt x="2183" y="714"/>
                  <a:pt x="2123" y="709"/>
                  <a:pt x="2121" y="707"/>
                </a:cubicBezTo>
                <a:cubicBezTo>
                  <a:pt x="2119" y="705"/>
                  <a:pt x="2113" y="686"/>
                  <a:pt x="2113" y="686"/>
                </a:cubicBezTo>
                <a:cubicBezTo>
                  <a:pt x="2096" y="681"/>
                  <a:pt x="2096" y="681"/>
                  <a:pt x="2096" y="681"/>
                </a:cubicBezTo>
                <a:cubicBezTo>
                  <a:pt x="2096" y="681"/>
                  <a:pt x="2099" y="658"/>
                  <a:pt x="2086" y="651"/>
                </a:cubicBezTo>
                <a:cubicBezTo>
                  <a:pt x="2073" y="645"/>
                  <a:pt x="2069" y="678"/>
                  <a:pt x="2052" y="682"/>
                </a:cubicBezTo>
                <a:cubicBezTo>
                  <a:pt x="2035" y="685"/>
                  <a:pt x="2028" y="682"/>
                  <a:pt x="2028" y="682"/>
                </a:cubicBezTo>
                <a:cubicBezTo>
                  <a:pt x="1934" y="422"/>
                  <a:pt x="1934" y="422"/>
                  <a:pt x="1934" y="422"/>
                </a:cubicBezTo>
                <a:cubicBezTo>
                  <a:pt x="1876" y="350"/>
                  <a:pt x="1876" y="350"/>
                  <a:pt x="1876" y="350"/>
                </a:cubicBezTo>
                <a:cubicBezTo>
                  <a:pt x="1876" y="350"/>
                  <a:pt x="1915" y="334"/>
                  <a:pt x="1914" y="324"/>
                </a:cubicBezTo>
                <a:cubicBezTo>
                  <a:pt x="1913" y="313"/>
                  <a:pt x="1886" y="314"/>
                  <a:pt x="1884" y="314"/>
                </a:cubicBezTo>
                <a:cubicBezTo>
                  <a:pt x="1882" y="314"/>
                  <a:pt x="1866" y="309"/>
                  <a:pt x="1866" y="309"/>
                </a:cubicBezTo>
                <a:cubicBezTo>
                  <a:pt x="1866" y="309"/>
                  <a:pt x="1849" y="333"/>
                  <a:pt x="1844" y="332"/>
                </a:cubicBezTo>
                <a:cubicBezTo>
                  <a:pt x="1839" y="330"/>
                  <a:pt x="1822" y="331"/>
                  <a:pt x="1818" y="332"/>
                </a:cubicBezTo>
                <a:cubicBezTo>
                  <a:pt x="1814" y="332"/>
                  <a:pt x="1793" y="353"/>
                  <a:pt x="1793" y="353"/>
                </a:cubicBezTo>
                <a:cubicBezTo>
                  <a:pt x="1793" y="353"/>
                  <a:pt x="1779" y="349"/>
                  <a:pt x="1776" y="350"/>
                </a:cubicBezTo>
                <a:cubicBezTo>
                  <a:pt x="1772" y="351"/>
                  <a:pt x="1748" y="374"/>
                  <a:pt x="1745" y="373"/>
                </a:cubicBezTo>
                <a:cubicBezTo>
                  <a:pt x="1743" y="372"/>
                  <a:pt x="1724" y="353"/>
                  <a:pt x="1721" y="353"/>
                </a:cubicBezTo>
                <a:cubicBezTo>
                  <a:pt x="1719" y="353"/>
                  <a:pt x="1701" y="379"/>
                  <a:pt x="1692" y="365"/>
                </a:cubicBezTo>
                <a:cubicBezTo>
                  <a:pt x="1682" y="352"/>
                  <a:pt x="1680" y="347"/>
                  <a:pt x="1682" y="343"/>
                </a:cubicBezTo>
                <a:cubicBezTo>
                  <a:pt x="1684" y="340"/>
                  <a:pt x="1729" y="326"/>
                  <a:pt x="1727" y="318"/>
                </a:cubicBezTo>
                <a:cubicBezTo>
                  <a:pt x="1724" y="310"/>
                  <a:pt x="1700" y="322"/>
                  <a:pt x="1694" y="314"/>
                </a:cubicBezTo>
                <a:cubicBezTo>
                  <a:pt x="1687" y="305"/>
                  <a:pt x="1701" y="287"/>
                  <a:pt x="1678" y="293"/>
                </a:cubicBezTo>
                <a:cubicBezTo>
                  <a:pt x="1655" y="299"/>
                  <a:pt x="1652" y="318"/>
                  <a:pt x="1650" y="309"/>
                </a:cubicBezTo>
                <a:cubicBezTo>
                  <a:pt x="1647" y="300"/>
                  <a:pt x="1662" y="270"/>
                  <a:pt x="1643" y="264"/>
                </a:cubicBezTo>
                <a:cubicBezTo>
                  <a:pt x="1624" y="259"/>
                  <a:pt x="1607" y="295"/>
                  <a:pt x="1593" y="272"/>
                </a:cubicBezTo>
                <a:cubicBezTo>
                  <a:pt x="1580" y="248"/>
                  <a:pt x="1607" y="228"/>
                  <a:pt x="1604" y="221"/>
                </a:cubicBezTo>
                <a:cubicBezTo>
                  <a:pt x="1600" y="214"/>
                  <a:pt x="1588" y="197"/>
                  <a:pt x="1588" y="197"/>
                </a:cubicBezTo>
                <a:cubicBezTo>
                  <a:pt x="1588" y="197"/>
                  <a:pt x="1611" y="174"/>
                  <a:pt x="1598" y="162"/>
                </a:cubicBezTo>
                <a:cubicBezTo>
                  <a:pt x="1585" y="151"/>
                  <a:pt x="1558" y="163"/>
                  <a:pt x="1558" y="163"/>
                </a:cubicBezTo>
                <a:cubicBezTo>
                  <a:pt x="1558" y="163"/>
                  <a:pt x="1530" y="113"/>
                  <a:pt x="1502" y="115"/>
                </a:cubicBezTo>
                <a:cubicBezTo>
                  <a:pt x="1474" y="118"/>
                  <a:pt x="1455" y="144"/>
                  <a:pt x="1447" y="144"/>
                </a:cubicBezTo>
                <a:cubicBezTo>
                  <a:pt x="1439" y="144"/>
                  <a:pt x="1285" y="126"/>
                  <a:pt x="1285" y="126"/>
                </a:cubicBezTo>
                <a:cubicBezTo>
                  <a:pt x="1260" y="154"/>
                  <a:pt x="1260" y="154"/>
                  <a:pt x="1260" y="154"/>
                </a:cubicBezTo>
                <a:cubicBezTo>
                  <a:pt x="1260" y="154"/>
                  <a:pt x="1253" y="123"/>
                  <a:pt x="1229" y="129"/>
                </a:cubicBezTo>
                <a:cubicBezTo>
                  <a:pt x="1205" y="135"/>
                  <a:pt x="1112" y="125"/>
                  <a:pt x="1112" y="125"/>
                </a:cubicBezTo>
                <a:cubicBezTo>
                  <a:pt x="1058" y="90"/>
                  <a:pt x="1058" y="90"/>
                  <a:pt x="1058" y="90"/>
                </a:cubicBezTo>
                <a:cubicBezTo>
                  <a:pt x="1058" y="90"/>
                  <a:pt x="1044" y="93"/>
                  <a:pt x="1042" y="93"/>
                </a:cubicBezTo>
                <a:cubicBezTo>
                  <a:pt x="1040" y="93"/>
                  <a:pt x="1030" y="121"/>
                  <a:pt x="1030" y="121"/>
                </a:cubicBezTo>
                <a:cubicBezTo>
                  <a:pt x="1054" y="142"/>
                  <a:pt x="1054" y="142"/>
                  <a:pt x="1054" y="142"/>
                </a:cubicBezTo>
                <a:cubicBezTo>
                  <a:pt x="1034" y="154"/>
                  <a:pt x="1034" y="154"/>
                  <a:pt x="1034" y="154"/>
                </a:cubicBezTo>
                <a:cubicBezTo>
                  <a:pt x="1034" y="154"/>
                  <a:pt x="1087" y="193"/>
                  <a:pt x="1074" y="200"/>
                </a:cubicBezTo>
                <a:cubicBezTo>
                  <a:pt x="1060" y="208"/>
                  <a:pt x="1020" y="184"/>
                  <a:pt x="1012" y="184"/>
                </a:cubicBezTo>
                <a:cubicBezTo>
                  <a:pt x="1004" y="184"/>
                  <a:pt x="975" y="194"/>
                  <a:pt x="975" y="194"/>
                </a:cubicBezTo>
                <a:cubicBezTo>
                  <a:pt x="975" y="194"/>
                  <a:pt x="993" y="220"/>
                  <a:pt x="972" y="236"/>
                </a:cubicBezTo>
                <a:cubicBezTo>
                  <a:pt x="951" y="251"/>
                  <a:pt x="911" y="245"/>
                  <a:pt x="911" y="245"/>
                </a:cubicBezTo>
                <a:cubicBezTo>
                  <a:pt x="921" y="282"/>
                  <a:pt x="921" y="282"/>
                  <a:pt x="921" y="282"/>
                </a:cubicBezTo>
                <a:cubicBezTo>
                  <a:pt x="950" y="297"/>
                  <a:pt x="950" y="297"/>
                  <a:pt x="950" y="297"/>
                </a:cubicBezTo>
                <a:cubicBezTo>
                  <a:pt x="945" y="317"/>
                  <a:pt x="945" y="317"/>
                  <a:pt x="945" y="317"/>
                </a:cubicBezTo>
                <a:cubicBezTo>
                  <a:pt x="972" y="334"/>
                  <a:pt x="972" y="334"/>
                  <a:pt x="972" y="334"/>
                </a:cubicBezTo>
                <a:cubicBezTo>
                  <a:pt x="941" y="374"/>
                  <a:pt x="941" y="374"/>
                  <a:pt x="941" y="374"/>
                </a:cubicBezTo>
                <a:cubicBezTo>
                  <a:pt x="941" y="374"/>
                  <a:pt x="904" y="390"/>
                  <a:pt x="887" y="376"/>
                </a:cubicBezTo>
                <a:cubicBezTo>
                  <a:pt x="869" y="361"/>
                  <a:pt x="862" y="347"/>
                  <a:pt x="862" y="347"/>
                </a:cubicBezTo>
                <a:cubicBezTo>
                  <a:pt x="862" y="347"/>
                  <a:pt x="841" y="363"/>
                  <a:pt x="839" y="363"/>
                </a:cubicBezTo>
                <a:cubicBezTo>
                  <a:pt x="837" y="363"/>
                  <a:pt x="828" y="350"/>
                  <a:pt x="819" y="342"/>
                </a:cubicBezTo>
                <a:cubicBezTo>
                  <a:pt x="809" y="334"/>
                  <a:pt x="797" y="325"/>
                  <a:pt x="792" y="319"/>
                </a:cubicBezTo>
                <a:cubicBezTo>
                  <a:pt x="788" y="313"/>
                  <a:pt x="804" y="281"/>
                  <a:pt x="788" y="274"/>
                </a:cubicBezTo>
                <a:cubicBezTo>
                  <a:pt x="773" y="268"/>
                  <a:pt x="743" y="283"/>
                  <a:pt x="728" y="275"/>
                </a:cubicBezTo>
                <a:cubicBezTo>
                  <a:pt x="713" y="267"/>
                  <a:pt x="710" y="245"/>
                  <a:pt x="710" y="245"/>
                </a:cubicBezTo>
                <a:cubicBezTo>
                  <a:pt x="710" y="245"/>
                  <a:pt x="684" y="228"/>
                  <a:pt x="677" y="230"/>
                </a:cubicBezTo>
                <a:cubicBezTo>
                  <a:pt x="670" y="232"/>
                  <a:pt x="650" y="233"/>
                  <a:pt x="650" y="233"/>
                </a:cubicBezTo>
                <a:cubicBezTo>
                  <a:pt x="650" y="233"/>
                  <a:pt x="659" y="255"/>
                  <a:pt x="636" y="250"/>
                </a:cubicBezTo>
                <a:cubicBezTo>
                  <a:pt x="612" y="245"/>
                  <a:pt x="595" y="210"/>
                  <a:pt x="591" y="203"/>
                </a:cubicBezTo>
                <a:cubicBezTo>
                  <a:pt x="587" y="195"/>
                  <a:pt x="566" y="233"/>
                  <a:pt x="556" y="222"/>
                </a:cubicBezTo>
                <a:cubicBezTo>
                  <a:pt x="547" y="211"/>
                  <a:pt x="560" y="179"/>
                  <a:pt x="560" y="179"/>
                </a:cubicBezTo>
                <a:cubicBezTo>
                  <a:pt x="560" y="179"/>
                  <a:pt x="539" y="152"/>
                  <a:pt x="538" y="140"/>
                </a:cubicBezTo>
                <a:cubicBezTo>
                  <a:pt x="537" y="129"/>
                  <a:pt x="541" y="107"/>
                  <a:pt x="529" y="99"/>
                </a:cubicBezTo>
                <a:cubicBezTo>
                  <a:pt x="517" y="91"/>
                  <a:pt x="488" y="69"/>
                  <a:pt x="488" y="69"/>
                </a:cubicBezTo>
                <a:cubicBezTo>
                  <a:pt x="488" y="69"/>
                  <a:pt x="498" y="47"/>
                  <a:pt x="487" y="44"/>
                </a:cubicBezTo>
                <a:cubicBezTo>
                  <a:pt x="476" y="42"/>
                  <a:pt x="450" y="57"/>
                  <a:pt x="450" y="57"/>
                </a:cubicBezTo>
                <a:cubicBezTo>
                  <a:pt x="429" y="40"/>
                  <a:pt x="429" y="40"/>
                  <a:pt x="429" y="40"/>
                </a:cubicBezTo>
                <a:cubicBezTo>
                  <a:pt x="429" y="40"/>
                  <a:pt x="442" y="23"/>
                  <a:pt x="427" y="17"/>
                </a:cubicBezTo>
                <a:cubicBezTo>
                  <a:pt x="411" y="10"/>
                  <a:pt x="394" y="32"/>
                  <a:pt x="367" y="25"/>
                </a:cubicBezTo>
                <a:cubicBezTo>
                  <a:pt x="340" y="18"/>
                  <a:pt x="314" y="9"/>
                  <a:pt x="314" y="9"/>
                </a:cubicBezTo>
                <a:cubicBezTo>
                  <a:pt x="314" y="9"/>
                  <a:pt x="307" y="31"/>
                  <a:pt x="305" y="31"/>
                </a:cubicBezTo>
                <a:cubicBezTo>
                  <a:pt x="303" y="31"/>
                  <a:pt x="233" y="30"/>
                  <a:pt x="233" y="30"/>
                </a:cubicBezTo>
                <a:cubicBezTo>
                  <a:pt x="218" y="78"/>
                  <a:pt x="218" y="78"/>
                  <a:pt x="218" y="78"/>
                </a:cubicBezTo>
                <a:cubicBezTo>
                  <a:pt x="218" y="78"/>
                  <a:pt x="200" y="84"/>
                  <a:pt x="195" y="72"/>
                </a:cubicBezTo>
                <a:cubicBezTo>
                  <a:pt x="189" y="61"/>
                  <a:pt x="183" y="5"/>
                  <a:pt x="177" y="3"/>
                </a:cubicBezTo>
                <a:cubicBezTo>
                  <a:pt x="172" y="0"/>
                  <a:pt x="160" y="29"/>
                  <a:pt x="146" y="28"/>
                </a:cubicBezTo>
                <a:cubicBezTo>
                  <a:pt x="132" y="26"/>
                  <a:pt x="117" y="19"/>
                  <a:pt x="117" y="19"/>
                </a:cubicBezTo>
                <a:cubicBezTo>
                  <a:pt x="87" y="59"/>
                  <a:pt x="87" y="59"/>
                  <a:pt x="87" y="59"/>
                </a:cubicBezTo>
                <a:cubicBezTo>
                  <a:pt x="85" y="85"/>
                  <a:pt x="85" y="85"/>
                  <a:pt x="85" y="85"/>
                </a:cubicBezTo>
                <a:cubicBezTo>
                  <a:pt x="55" y="91"/>
                  <a:pt x="55" y="91"/>
                  <a:pt x="55" y="91"/>
                </a:cubicBezTo>
                <a:cubicBezTo>
                  <a:pt x="55" y="91"/>
                  <a:pt x="15" y="120"/>
                  <a:pt x="17" y="121"/>
                </a:cubicBezTo>
                <a:cubicBezTo>
                  <a:pt x="19" y="121"/>
                  <a:pt x="44" y="160"/>
                  <a:pt x="44" y="160"/>
                </a:cubicBezTo>
                <a:cubicBezTo>
                  <a:pt x="21" y="206"/>
                  <a:pt x="21" y="206"/>
                  <a:pt x="21" y="206"/>
                </a:cubicBezTo>
                <a:cubicBezTo>
                  <a:pt x="69" y="240"/>
                  <a:pt x="69" y="240"/>
                  <a:pt x="69" y="240"/>
                </a:cubicBezTo>
                <a:cubicBezTo>
                  <a:pt x="60" y="343"/>
                  <a:pt x="60" y="343"/>
                  <a:pt x="60" y="343"/>
                </a:cubicBezTo>
                <a:cubicBezTo>
                  <a:pt x="60" y="343"/>
                  <a:pt x="31" y="332"/>
                  <a:pt x="31" y="334"/>
                </a:cubicBezTo>
                <a:cubicBezTo>
                  <a:pt x="31" y="336"/>
                  <a:pt x="44" y="377"/>
                  <a:pt x="44" y="377"/>
                </a:cubicBezTo>
                <a:cubicBezTo>
                  <a:pt x="40" y="378"/>
                  <a:pt x="40" y="378"/>
                  <a:pt x="40" y="378"/>
                </a:cubicBezTo>
                <a:cubicBezTo>
                  <a:pt x="56" y="391"/>
                  <a:pt x="56" y="391"/>
                  <a:pt x="56" y="391"/>
                </a:cubicBezTo>
                <a:cubicBezTo>
                  <a:pt x="67" y="370"/>
                  <a:pt x="67" y="370"/>
                  <a:pt x="67" y="370"/>
                </a:cubicBezTo>
                <a:cubicBezTo>
                  <a:pt x="86" y="391"/>
                  <a:pt x="86" y="391"/>
                  <a:pt x="86" y="391"/>
                </a:cubicBezTo>
                <a:cubicBezTo>
                  <a:pt x="86" y="391"/>
                  <a:pt x="182" y="359"/>
                  <a:pt x="205" y="389"/>
                </a:cubicBezTo>
                <a:cubicBezTo>
                  <a:pt x="227" y="419"/>
                  <a:pt x="244" y="454"/>
                  <a:pt x="244" y="454"/>
                </a:cubicBezTo>
                <a:cubicBezTo>
                  <a:pt x="244" y="454"/>
                  <a:pt x="303" y="454"/>
                  <a:pt x="298" y="482"/>
                </a:cubicBezTo>
                <a:cubicBezTo>
                  <a:pt x="292" y="510"/>
                  <a:pt x="261" y="519"/>
                  <a:pt x="261" y="519"/>
                </a:cubicBezTo>
                <a:cubicBezTo>
                  <a:pt x="257" y="554"/>
                  <a:pt x="257" y="554"/>
                  <a:pt x="257" y="554"/>
                </a:cubicBezTo>
                <a:cubicBezTo>
                  <a:pt x="214" y="577"/>
                  <a:pt x="214" y="577"/>
                  <a:pt x="214" y="577"/>
                </a:cubicBezTo>
                <a:cubicBezTo>
                  <a:pt x="214" y="577"/>
                  <a:pt x="270" y="608"/>
                  <a:pt x="234" y="608"/>
                </a:cubicBezTo>
                <a:cubicBezTo>
                  <a:pt x="199" y="608"/>
                  <a:pt x="128" y="551"/>
                  <a:pt x="128" y="551"/>
                </a:cubicBezTo>
                <a:cubicBezTo>
                  <a:pt x="73" y="560"/>
                  <a:pt x="73" y="560"/>
                  <a:pt x="73" y="560"/>
                </a:cubicBezTo>
                <a:cubicBezTo>
                  <a:pt x="73" y="560"/>
                  <a:pt x="87" y="610"/>
                  <a:pt x="74" y="610"/>
                </a:cubicBezTo>
                <a:cubicBezTo>
                  <a:pt x="61" y="610"/>
                  <a:pt x="37" y="567"/>
                  <a:pt x="22" y="567"/>
                </a:cubicBezTo>
                <a:cubicBezTo>
                  <a:pt x="7" y="567"/>
                  <a:pt x="6" y="590"/>
                  <a:pt x="6" y="590"/>
                </a:cubicBezTo>
                <a:cubicBezTo>
                  <a:pt x="35" y="620"/>
                  <a:pt x="35" y="620"/>
                  <a:pt x="35" y="620"/>
                </a:cubicBezTo>
                <a:cubicBezTo>
                  <a:pt x="35" y="620"/>
                  <a:pt x="35" y="694"/>
                  <a:pt x="28" y="696"/>
                </a:cubicBezTo>
                <a:cubicBezTo>
                  <a:pt x="20" y="698"/>
                  <a:pt x="0" y="724"/>
                  <a:pt x="0" y="724"/>
                </a:cubicBezTo>
                <a:cubicBezTo>
                  <a:pt x="19" y="733"/>
                  <a:pt x="19" y="733"/>
                  <a:pt x="19" y="733"/>
                </a:cubicBezTo>
                <a:cubicBezTo>
                  <a:pt x="19" y="767"/>
                  <a:pt x="19" y="767"/>
                  <a:pt x="19" y="767"/>
                </a:cubicBezTo>
                <a:cubicBezTo>
                  <a:pt x="19" y="767"/>
                  <a:pt x="46" y="781"/>
                  <a:pt x="46" y="787"/>
                </a:cubicBezTo>
                <a:cubicBezTo>
                  <a:pt x="46" y="793"/>
                  <a:pt x="99" y="774"/>
                  <a:pt x="63" y="804"/>
                </a:cubicBezTo>
                <a:cubicBezTo>
                  <a:pt x="35" y="827"/>
                  <a:pt x="16" y="863"/>
                  <a:pt x="8" y="878"/>
                </a:cubicBezTo>
                <a:cubicBezTo>
                  <a:pt x="7" y="882"/>
                  <a:pt x="6" y="884"/>
                  <a:pt x="6" y="884"/>
                </a:cubicBezTo>
                <a:cubicBezTo>
                  <a:pt x="6" y="884"/>
                  <a:pt x="108" y="867"/>
                  <a:pt x="138" y="904"/>
                </a:cubicBez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30" name="Freeform 209"/>
          <p:cNvSpPr>
            <a:spLocks/>
          </p:cNvSpPr>
          <p:nvPr/>
        </p:nvSpPr>
        <p:spPr bwMode="auto">
          <a:xfrm>
            <a:off x="3567113" y="5514975"/>
            <a:ext cx="1319212" cy="500063"/>
          </a:xfrm>
          <a:custGeom>
            <a:avLst/>
            <a:gdLst>
              <a:gd name="T0" fmla="*/ 530 w 1143"/>
              <a:gd name="T1" fmla="*/ 59 h 432"/>
              <a:gd name="T2" fmla="*/ 454 w 1143"/>
              <a:gd name="T3" fmla="*/ 117 h 432"/>
              <a:gd name="T4" fmla="*/ 433 w 1143"/>
              <a:gd name="T5" fmla="*/ 210 h 432"/>
              <a:gd name="T6" fmla="*/ 411 w 1143"/>
              <a:gd name="T7" fmla="*/ 234 h 432"/>
              <a:gd name="T8" fmla="*/ 377 w 1143"/>
              <a:gd name="T9" fmla="*/ 212 h 432"/>
              <a:gd name="T10" fmla="*/ 338 w 1143"/>
              <a:gd name="T11" fmla="*/ 212 h 432"/>
              <a:gd name="T12" fmla="*/ 281 w 1143"/>
              <a:gd name="T13" fmla="*/ 182 h 432"/>
              <a:gd name="T14" fmla="*/ 216 w 1143"/>
              <a:gd name="T15" fmla="*/ 336 h 432"/>
              <a:gd name="T16" fmla="*/ 232 w 1143"/>
              <a:gd name="T17" fmla="*/ 355 h 432"/>
              <a:gd name="T18" fmla="*/ 217 w 1143"/>
              <a:gd name="T19" fmla="*/ 377 h 432"/>
              <a:gd name="T20" fmla="*/ 204 w 1143"/>
              <a:gd name="T21" fmla="*/ 366 h 432"/>
              <a:gd name="T22" fmla="*/ 186 w 1143"/>
              <a:gd name="T23" fmla="*/ 370 h 432"/>
              <a:gd name="T24" fmla="*/ 171 w 1143"/>
              <a:gd name="T25" fmla="*/ 348 h 432"/>
              <a:gd name="T26" fmla="*/ 42 w 1143"/>
              <a:gd name="T27" fmla="*/ 366 h 432"/>
              <a:gd name="T28" fmla="*/ 78 w 1143"/>
              <a:gd name="T29" fmla="*/ 394 h 432"/>
              <a:gd name="T30" fmla="*/ 65 w 1143"/>
              <a:gd name="T31" fmla="*/ 420 h 432"/>
              <a:gd name="T32" fmla="*/ 60 w 1143"/>
              <a:gd name="T33" fmla="*/ 432 h 432"/>
              <a:gd name="T34" fmla="*/ 1143 w 1143"/>
              <a:gd name="T35" fmla="*/ 432 h 432"/>
              <a:gd name="T36" fmla="*/ 1081 w 1143"/>
              <a:gd name="T37" fmla="*/ 357 h 432"/>
              <a:gd name="T38" fmla="*/ 999 w 1143"/>
              <a:gd name="T39" fmla="*/ 307 h 432"/>
              <a:gd name="T40" fmla="*/ 977 w 1143"/>
              <a:gd name="T41" fmla="*/ 310 h 432"/>
              <a:gd name="T42" fmla="*/ 943 w 1143"/>
              <a:gd name="T43" fmla="*/ 281 h 432"/>
              <a:gd name="T44" fmla="*/ 858 w 1143"/>
              <a:gd name="T45" fmla="*/ 258 h 432"/>
              <a:gd name="T46" fmla="*/ 765 w 1143"/>
              <a:gd name="T47" fmla="*/ 188 h 432"/>
              <a:gd name="T48" fmla="*/ 737 w 1143"/>
              <a:gd name="T49" fmla="*/ 139 h 432"/>
              <a:gd name="T50" fmla="*/ 722 w 1143"/>
              <a:gd name="T51" fmla="*/ 143 h 432"/>
              <a:gd name="T52" fmla="*/ 705 w 1143"/>
              <a:gd name="T53" fmla="*/ 124 h 432"/>
              <a:gd name="T54" fmla="*/ 683 w 1143"/>
              <a:gd name="T55" fmla="*/ 132 h 432"/>
              <a:gd name="T56" fmla="*/ 649 w 1143"/>
              <a:gd name="T57" fmla="*/ 96 h 432"/>
              <a:gd name="T58" fmla="*/ 599 w 1143"/>
              <a:gd name="T59" fmla="*/ 68 h 432"/>
              <a:gd name="T60" fmla="*/ 614 w 1143"/>
              <a:gd name="T61" fmla="*/ 54 h 432"/>
              <a:gd name="T62" fmla="*/ 599 w 1143"/>
              <a:gd name="T63" fmla="*/ 33 h 432"/>
              <a:gd name="T64" fmla="*/ 600 w 1143"/>
              <a:gd name="T65" fmla="*/ 10 h 432"/>
              <a:gd name="T66" fmla="*/ 585 w 1143"/>
              <a:gd name="T67" fmla="*/ 14 h 432"/>
              <a:gd name="T68" fmla="*/ 582 w 1143"/>
              <a:gd name="T69" fmla="*/ 14 h 432"/>
              <a:gd name="T70" fmla="*/ 582 w 1143"/>
              <a:gd name="T71" fmla="*/ 13 h 432"/>
              <a:gd name="T72" fmla="*/ 580 w 1143"/>
              <a:gd name="T73" fmla="*/ 13 h 432"/>
              <a:gd name="T74" fmla="*/ 579 w 1143"/>
              <a:gd name="T75" fmla="*/ 13 h 432"/>
              <a:gd name="T76" fmla="*/ 576 w 1143"/>
              <a:gd name="T77" fmla="*/ 12 h 432"/>
              <a:gd name="T78" fmla="*/ 575 w 1143"/>
              <a:gd name="T79" fmla="*/ 11 h 432"/>
              <a:gd name="T80" fmla="*/ 574 w 1143"/>
              <a:gd name="T81" fmla="*/ 10 h 432"/>
              <a:gd name="T82" fmla="*/ 572 w 1143"/>
              <a:gd name="T83" fmla="*/ 9 h 432"/>
              <a:gd name="T84" fmla="*/ 572 w 1143"/>
              <a:gd name="T85" fmla="*/ 9 h 432"/>
              <a:gd name="T86" fmla="*/ 568 w 1143"/>
              <a:gd name="T87" fmla="*/ 6 h 432"/>
              <a:gd name="T88" fmla="*/ 561 w 1143"/>
              <a:gd name="T89" fmla="*/ 0 h 432"/>
              <a:gd name="T90" fmla="*/ 551 w 1143"/>
              <a:gd name="T91" fmla="*/ 16 h 432"/>
              <a:gd name="T92" fmla="*/ 530 w 1143"/>
              <a:gd name="T93" fmla="*/ 59 h 43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143"/>
              <a:gd name="T142" fmla="*/ 0 h 432"/>
              <a:gd name="T143" fmla="*/ 1143 w 1143"/>
              <a:gd name="T144" fmla="*/ 432 h 432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143" h="432">
                <a:moveTo>
                  <a:pt x="530" y="59"/>
                </a:moveTo>
                <a:cubicBezTo>
                  <a:pt x="521" y="72"/>
                  <a:pt x="461" y="96"/>
                  <a:pt x="454" y="117"/>
                </a:cubicBezTo>
                <a:cubicBezTo>
                  <a:pt x="446" y="137"/>
                  <a:pt x="446" y="206"/>
                  <a:pt x="433" y="210"/>
                </a:cubicBezTo>
                <a:cubicBezTo>
                  <a:pt x="420" y="214"/>
                  <a:pt x="411" y="234"/>
                  <a:pt x="411" y="234"/>
                </a:cubicBezTo>
                <a:cubicBezTo>
                  <a:pt x="377" y="212"/>
                  <a:pt x="377" y="212"/>
                  <a:pt x="377" y="212"/>
                </a:cubicBezTo>
                <a:cubicBezTo>
                  <a:pt x="377" y="212"/>
                  <a:pt x="363" y="212"/>
                  <a:pt x="338" y="212"/>
                </a:cubicBezTo>
                <a:cubicBezTo>
                  <a:pt x="314" y="212"/>
                  <a:pt x="281" y="182"/>
                  <a:pt x="281" y="182"/>
                </a:cubicBezTo>
                <a:cubicBezTo>
                  <a:pt x="216" y="336"/>
                  <a:pt x="216" y="336"/>
                  <a:pt x="216" y="336"/>
                </a:cubicBezTo>
                <a:cubicBezTo>
                  <a:pt x="232" y="355"/>
                  <a:pt x="232" y="355"/>
                  <a:pt x="232" y="355"/>
                </a:cubicBezTo>
                <a:cubicBezTo>
                  <a:pt x="217" y="377"/>
                  <a:pt x="217" y="377"/>
                  <a:pt x="217" y="377"/>
                </a:cubicBezTo>
                <a:cubicBezTo>
                  <a:pt x="204" y="366"/>
                  <a:pt x="204" y="366"/>
                  <a:pt x="204" y="366"/>
                </a:cubicBezTo>
                <a:cubicBezTo>
                  <a:pt x="186" y="370"/>
                  <a:pt x="186" y="370"/>
                  <a:pt x="186" y="370"/>
                </a:cubicBezTo>
                <a:cubicBezTo>
                  <a:pt x="171" y="348"/>
                  <a:pt x="171" y="348"/>
                  <a:pt x="171" y="348"/>
                </a:cubicBezTo>
                <a:cubicBezTo>
                  <a:pt x="171" y="348"/>
                  <a:pt x="85" y="363"/>
                  <a:pt x="42" y="366"/>
                </a:cubicBezTo>
                <a:cubicBezTo>
                  <a:pt x="0" y="370"/>
                  <a:pt x="78" y="394"/>
                  <a:pt x="78" y="394"/>
                </a:cubicBezTo>
                <a:cubicBezTo>
                  <a:pt x="78" y="394"/>
                  <a:pt x="72" y="413"/>
                  <a:pt x="65" y="420"/>
                </a:cubicBezTo>
                <a:cubicBezTo>
                  <a:pt x="63" y="422"/>
                  <a:pt x="62" y="426"/>
                  <a:pt x="60" y="432"/>
                </a:cubicBezTo>
                <a:cubicBezTo>
                  <a:pt x="1143" y="432"/>
                  <a:pt x="1143" y="432"/>
                  <a:pt x="1143" y="432"/>
                </a:cubicBezTo>
                <a:cubicBezTo>
                  <a:pt x="1136" y="391"/>
                  <a:pt x="1098" y="367"/>
                  <a:pt x="1081" y="357"/>
                </a:cubicBezTo>
                <a:cubicBezTo>
                  <a:pt x="1062" y="346"/>
                  <a:pt x="1012" y="314"/>
                  <a:pt x="999" y="307"/>
                </a:cubicBezTo>
                <a:cubicBezTo>
                  <a:pt x="986" y="299"/>
                  <a:pt x="977" y="310"/>
                  <a:pt x="977" y="310"/>
                </a:cubicBezTo>
                <a:cubicBezTo>
                  <a:pt x="943" y="281"/>
                  <a:pt x="943" y="281"/>
                  <a:pt x="943" y="281"/>
                </a:cubicBezTo>
                <a:cubicBezTo>
                  <a:pt x="943" y="281"/>
                  <a:pt x="882" y="279"/>
                  <a:pt x="858" y="258"/>
                </a:cubicBezTo>
                <a:cubicBezTo>
                  <a:pt x="833" y="238"/>
                  <a:pt x="765" y="188"/>
                  <a:pt x="765" y="188"/>
                </a:cubicBezTo>
                <a:cubicBezTo>
                  <a:pt x="737" y="139"/>
                  <a:pt x="737" y="139"/>
                  <a:pt x="737" y="139"/>
                </a:cubicBezTo>
                <a:cubicBezTo>
                  <a:pt x="722" y="143"/>
                  <a:pt x="722" y="143"/>
                  <a:pt x="722" y="143"/>
                </a:cubicBezTo>
                <a:cubicBezTo>
                  <a:pt x="705" y="124"/>
                  <a:pt x="705" y="124"/>
                  <a:pt x="705" y="124"/>
                </a:cubicBezTo>
                <a:cubicBezTo>
                  <a:pt x="705" y="124"/>
                  <a:pt x="690" y="134"/>
                  <a:pt x="683" y="132"/>
                </a:cubicBezTo>
                <a:cubicBezTo>
                  <a:pt x="675" y="130"/>
                  <a:pt x="649" y="109"/>
                  <a:pt x="649" y="96"/>
                </a:cubicBezTo>
                <a:cubicBezTo>
                  <a:pt x="649" y="83"/>
                  <a:pt x="599" y="68"/>
                  <a:pt x="599" y="68"/>
                </a:cubicBezTo>
                <a:cubicBezTo>
                  <a:pt x="614" y="54"/>
                  <a:pt x="614" y="54"/>
                  <a:pt x="614" y="54"/>
                </a:cubicBezTo>
                <a:cubicBezTo>
                  <a:pt x="599" y="33"/>
                  <a:pt x="599" y="33"/>
                  <a:pt x="599" y="33"/>
                </a:cubicBezTo>
                <a:cubicBezTo>
                  <a:pt x="600" y="10"/>
                  <a:pt x="600" y="10"/>
                  <a:pt x="600" y="10"/>
                </a:cubicBezTo>
                <a:cubicBezTo>
                  <a:pt x="595" y="13"/>
                  <a:pt x="590" y="14"/>
                  <a:pt x="585" y="14"/>
                </a:cubicBezTo>
                <a:cubicBezTo>
                  <a:pt x="584" y="14"/>
                  <a:pt x="583" y="14"/>
                  <a:pt x="582" y="14"/>
                </a:cubicBezTo>
                <a:cubicBezTo>
                  <a:pt x="582" y="13"/>
                  <a:pt x="582" y="13"/>
                  <a:pt x="582" y="13"/>
                </a:cubicBezTo>
                <a:cubicBezTo>
                  <a:pt x="581" y="13"/>
                  <a:pt x="580" y="13"/>
                  <a:pt x="580" y="13"/>
                </a:cubicBezTo>
                <a:cubicBezTo>
                  <a:pt x="579" y="13"/>
                  <a:pt x="579" y="13"/>
                  <a:pt x="579" y="13"/>
                </a:cubicBezTo>
                <a:cubicBezTo>
                  <a:pt x="578" y="12"/>
                  <a:pt x="577" y="12"/>
                  <a:pt x="576" y="12"/>
                </a:cubicBezTo>
                <a:cubicBezTo>
                  <a:pt x="576" y="11"/>
                  <a:pt x="575" y="11"/>
                  <a:pt x="575" y="11"/>
                </a:cubicBezTo>
                <a:cubicBezTo>
                  <a:pt x="575" y="11"/>
                  <a:pt x="574" y="10"/>
                  <a:pt x="574" y="10"/>
                </a:cubicBezTo>
                <a:cubicBezTo>
                  <a:pt x="573" y="10"/>
                  <a:pt x="573" y="10"/>
                  <a:pt x="572" y="9"/>
                </a:cubicBezTo>
                <a:cubicBezTo>
                  <a:pt x="572" y="9"/>
                  <a:pt x="572" y="9"/>
                  <a:pt x="572" y="9"/>
                </a:cubicBezTo>
                <a:cubicBezTo>
                  <a:pt x="571" y="8"/>
                  <a:pt x="569" y="7"/>
                  <a:pt x="568" y="6"/>
                </a:cubicBezTo>
                <a:cubicBezTo>
                  <a:pt x="565" y="5"/>
                  <a:pt x="563" y="3"/>
                  <a:pt x="561" y="0"/>
                </a:cubicBezTo>
                <a:cubicBezTo>
                  <a:pt x="555" y="9"/>
                  <a:pt x="551" y="16"/>
                  <a:pt x="551" y="16"/>
                </a:cubicBezTo>
                <a:cubicBezTo>
                  <a:pt x="551" y="16"/>
                  <a:pt x="539" y="46"/>
                  <a:pt x="530" y="59"/>
                </a:cubicBez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31" name="Freeform 210"/>
          <p:cNvSpPr>
            <a:spLocks/>
          </p:cNvSpPr>
          <p:nvPr/>
        </p:nvSpPr>
        <p:spPr bwMode="auto">
          <a:xfrm>
            <a:off x="4257675" y="5091113"/>
            <a:ext cx="2419350" cy="923925"/>
          </a:xfrm>
          <a:custGeom>
            <a:avLst/>
            <a:gdLst>
              <a:gd name="T0" fmla="*/ 0 w 2094"/>
              <a:gd name="T1" fmla="*/ 436 h 800"/>
              <a:gd name="T2" fmla="*/ 84 w 2094"/>
              <a:gd name="T3" fmla="*/ 500 h 800"/>
              <a:gd name="T4" fmla="*/ 123 w 2094"/>
              <a:gd name="T5" fmla="*/ 511 h 800"/>
              <a:gd name="T6" fmla="*/ 166 w 2094"/>
              <a:gd name="T7" fmla="*/ 556 h 800"/>
              <a:gd name="T8" fmla="*/ 344 w 2094"/>
              <a:gd name="T9" fmla="*/ 649 h 800"/>
              <a:gd name="T10" fmla="*/ 400 w 2094"/>
              <a:gd name="T11" fmla="*/ 675 h 800"/>
              <a:gd name="T12" fmla="*/ 544 w 2094"/>
              <a:gd name="T13" fmla="*/ 800 h 800"/>
              <a:gd name="T14" fmla="*/ 1526 w 2094"/>
              <a:gd name="T15" fmla="*/ 760 h 800"/>
              <a:gd name="T16" fmla="*/ 1645 w 2094"/>
              <a:gd name="T17" fmla="*/ 535 h 800"/>
              <a:gd name="T18" fmla="*/ 1783 w 2094"/>
              <a:gd name="T19" fmla="*/ 459 h 800"/>
              <a:gd name="T20" fmla="*/ 1872 w 2094"/>
              <a:gd name="T21" fmla="*/ 377 h 800"/>
              <a:gd name="T22" fmla="*/ 1932 w 2094"/>
              <a:gd name="T23" fmla="*/ 310 h 800"/>
              <a:gd name="T24" fmla="*/ 1945 w 2094"/>
              <a:gd name="T25" fmla="*/ 280 h 800"/>
              <a:gd name="T26" fmla="*/ 2073 w 2094"/>
              <a:gd name="T27" fmla="*/ 208 h 800"/>
              <a:gd name="T28" fmla="*/ 1881 w 2094"/>
              <a:gd name="T29" fmla="*/ 185 h 800"/>
              <a:gd name="T30" fmla="*/ 1813 w 2094"/>
              <a:gd name="T31" fmla="*/ 191 h 800"/>
              <a:gd name="T32" fmla="*/ 1755 w 2094"/>
              <a:gd name="T33" fmla="*/ 202 h 800"/>
              <a:gd name="T34" fmla="*/ 1757 w 2094"/>
              <a:gd name="T35" fmla="*/ 159 h 800"/>
              <a:gd name="T36" fmla="*/ 1742 w 2094"/>
              <a:gd name="T37" fmla="*/ 3 h 800"/>
              <a:gd name="T38" fmla="*/ 1639 w 2094"/>
              <a:gd name="T39" fmla="*/ 14 h 800"/>
              <a:gd name="T40" fmla="*/ 1591 w 2094"/>
              <a:gd name="T41" fmla="*/ 53 h 800"/>
              <a:gd name="T42" fmla="*/ 1525 w 2094"/>
              <a:gd name="T43" fmla="*/ 128 h 800"/>
              <a:gd name="T44" fmla="*/ 1373 w 2094"/>
              <a:gd name="T45" fmla="*/ 211 h 800"/>
              <a:gd name="T46" fmla="*/ 1330 w 2094"/>
              <a:gd name="T47" fmla="*/ 206 h 800"/>
              <a:gd name="T48" fmla="*/ 1247 w 2094"/>
              <a:gd name="T49" fmla="*/ 180 h 800"/>
              <a:gd name="T50" fmla="*/ 1164 w 2094"/>
              <a:gd name="T51" fmla="*/ 155 h 800"/>
              <a:gd name="T52" fmla="*/ 1069 w 2094"/>
              <a:gd name="T53" fmla="*/ 157 h 800"/>
              <a:gd name="T54" fmla="*/ 897 w 2094"/>
              <a:gd name="T55" fmla="*/ 179 h 800"/>
              <a:gd name="T56" fmla="*/ 812 w 2094"/>
              <a:gd name="T57" fmla="*/ 104 h 800"/>
              <a:gd name="T58" fmla="*/ 719 w 2094"/>
              <a:gd name="T59" fmla="*/ 92 h 800"/>
              <a:gd name="T60" fmla="*/ 656 w 2094"/>
              <a:gd name="T61" fmla="*/ 101 h 800"/>
              <a:gd name="T62" fmla="*/ 620 w 2094"/>
              <a:gd name="T63" fmla="*/ 183 h 800"/>
              <a:gd name="T64" fmla="*/ 638 w 2094"/>
              <a:gd name="T65" fmla="*/ 277 h 800"/>
              <a:gd name="T66" fmla="*/ 561 w 2094"/>
              <a:gd name="T67" fmla="*/ 293 h 800"/>
              <a:gd name="T68" fmla="*/ 508 w 2094"/>
              <a:gd name="T69" fmla="*/ 289 h 800"/>
              <a:gd name="T70" fmla="*/ 445 w 2094"/>
              <a:gd name="T71" fmla="*/ 287 h 800"/>
              <a:gd name="T72" fmla="*/ 408 w 2094"/>
              <a:gd name="T73" fmla="*/ 243 h 800"/>
              <a:gd name="T74" fmla="*/ 315 w 2094"/>
              <a:gd name="T75" fmla="*/ 227 h 800"/>
              <a:gd name="T76" fmla="*/ 286 w 2094"/>
              <a:gd name="T77" fmla="*/ 219 h 800"/>
              <a:gd name="T78" fmla="*/ 244 w 2094"/>
              <a:gd name="T79" fmla="*/ 235 h 800"/>
              <a:gd name="T80" fmla="*/ 188 w 2094"/>
              <a:gd name="T81" fmla="*/ 267 h 800"/>
              <a:gd name="T82" fmla="*/ 74 w 2094"/>
              <a:gd name="T83" fmla="*/ 355 h 800"/>
              <a:gd name="T84" fmla="*/ 1 w 2094"/>
              <a:gd name="T85" fmla="*/ 378 h 800"/>
              <a:gd name="T86" fmla="*/ 15 w 2094"/>
              <a:gd name="T87" fmla="*/ 422 h 80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2094"/>
              <a:gd name="T133" fmla="*/ 0 h 800"/>
              <a:gd name="T134" fmla="*/ 2094 w 2094"/>
              <a:gd name="T135" fmla="*/ 800 h 80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2094" h="800">
                <a:moveTo>
                  <a:pt x="15" y="422"/>
                </a:moveTo>
                <a:cubicBezTo>
                  <a:pt x="0" y="436"/>
                  <a:pt x="0" y="436"/>
                  <a:pt x="0" y="436"/>
                </a:cubicBezTo>
                <a:cubicBezTo>
                  <a:pt x="0" y="436"/>
                  <a:pt x="50" y="451"/>
                  <a:pt x="50" y="464"/>
                </a:cubicBezTo>
                <a:cubicBezTo>
                  <a:pt x="50" y="477"/>
                  <a:pt x="76" y="498"/>
                  <a:pt x="84" y="500"/>
                </a:cubicBezTo>
                <a:cubicBezTo>
                  <a:pt x="91" y="502"/>
                  <a:pt x="106" y="492"/>
                  <a:pt x="106" y="492"/>
                </a:cubicBezTo>
                <a:cubicBezTo>
                  <a:pt x="123" y="511"/>
                  <a:pt x="123" y="511"/>
                  <a:pt x="123" y="511"/>
                </a:cubicBezTo>
                <a:cubicBezTo>
                  <a:pt x="138" y="507"/>
                  <a:pt x="138" y="507"/>
                  <a:pt x="138" y="507"/>
                </a:cubicBezTo>
                <a:cubicBezTo>
                  <a:pt x="166" y="556"/>
                  <a:pt x="166" y="556"/>
                  <a:pt x="166" y="556"/>
                </a:cubicBezTo>
                <a:cubicBezTo>
                  <a:pt x="166" y="556"/>
                  <a:pt x="234" y="606"/>
                  <a:pt x="259" y="626"/>
                </a:cubicBezTo>
                <a:cubicBezTo>
                  <a:pt x="283" y="647"/>
                  <a:pt x="344" y="649"/>
                  <a:pt x="344" y="649"/>
                </a:cubicBezTo>
                <a:cubicBezTo>
                  <a:pt x="378" y="678"/>
                  <a:pt x="378" y="678"/>
                  <a:pt x="378" y="678"/>
                </a:cubicBezTo>
                <a:cubicBezTo>
                  <a:pt x="378" y="678"/>
                  <a:pt x="387" y="667"/>
                  <a:pt x="400" y="675"/>
                </a:cubicBezTo>
                <a:cubicBezTo>
                  <a:pt x="413" y="682"/>
                  <a:pt x="463" y="714"/>
                  <a:pt x="482" y="725"/>
                </a:cubicBezTo>
                <a:cubicBezTo>
                  <a:pt x="499" y="735"/>
                  <a:pt x="537" y="759"/>
                  <a:pt x="544" y="800"/>
                </a:cubicBezTo>
                <a:cubicBezTo>
                  <a:pt x="1536" y="800"/>
                  <a:pt x="1536" y="800"/>
                  <a:pt x="1536" y="800"/>
                </a:cubicBezTo>
                <a:cubicBezTo>
                  <a:pt x="1526" y="760"/>
                  <a:pt x="1526" y="760"/>
                  <a:pt x="1526" y="760"/>
                </a:cubicBezTo>
                <a:cubicBezTo>
                  <a:pt x="1587" y="708"/>
                  <a:pt x="1587" y="708"/>
                  <a:pt x="1587" y="708"/>
                </a:cubicBezTo>
                <a:cubicBezTo>
                  <a:pt x="1587" y="708"/>
                  <a:pt x="1600" y="561"/>
                  <a:pt x="1645" y="535"/>
                </a:cubicBezTo>
                <a:cubicBezTo>
                  <a:pt x="1690" y="509"/>
                  <a:pt x="1690" y="543"/>
                  <a:pt x="1727" y="541"/>
                </a:cubicBezTo>
                <a:cubicBezTo>
                  <a:pt x="1764" y="539"/>
                  <a:pt x="1783" y="459"/>
                  <a:pt x="1783" y="459"/>
                </a:cubicBezTo>
                <a:cubicBezTo>
                  <a:pt x="1783" y="459"/>
                  <a:pt x="1835" y="438"/>
                  <a:pt x="1842" y="436"/>
                </a:cubicBezTo>
                <a:cubicBezTo>
                  <a:pt x="1850" y="435"/>
                  <a:pt x="1872" y="377"/>
                  <a:pt x="1872" y="377"/>
                </a:cubicBezTo>
                <a:cubicBezTo>
                  <a:pt x="1885" y="332"/>
                  <a:pt x="1885" y="332"/>
                  <a:pt x="1885" y="332"/>
                </a:cubicBezTo>
                <a:cubicBezTo>
                  <a:pt x="1885" y="332"/>
                  <a:pt x="1909" y="312"/>
                  <a:pt x="1932" y="310"/>
                </a:cubicBezTo>
                <a:cubicBezTo>
                  <a:pt x="1954" y="308"/>
                  <a:pt x="1926" y="276"/>
                  <a:pt x="1926" y="276"/>
                </a:cubicBezTo>
                <a:cubicBezTo>
                  <a:pt x="1945" y="280"/>
                  <a:pt x="1945" y="280"/>
                  <a:pt x="1945" y="280"/>
                </a:cubicBezTo>
                <a:cubicBezTo>
                  <a:pt x="2010" y="239"/>
                  <a:pt x="2010" y="239"/>
                  <a:pt x="2010" y="239"/>
                </a:cubicBezTo>
                <a:cubicBezTo>
                  <a:pt x="2010" y="239"/>
                  <a:pt x="2053" y="226"/>
                  <a:pt x="2073" y="208"/>
                </a:cubicBezTo>
                <a:cubicBezTo>
                  <a:pt x="2094" y="189"/>
                  <a:pt x="1911" y="139"/>
                  <a:pt x="1911" y="139"/>
                </a:cubicBezTo>
                <a:cubicBezTo>
                  <a:pt x="1881" y="185"/>
                  <a:pt x="1881" y="185"/>
                  <a:pt x="1881" y="185"/>
                </a:cubicBezTo>
                <a:cubicBezTo>
                  <a:pt x="1855" y="174"/>
                  <a:pt x="1855" y="174"/>
                  <a:pt x="1855" y="174"/>
                </a:cubicBezTo>
                <a:cubicBezTo>
                  <a:pt x="1813" y="191"/>
                  <a:pt x="1813" y="191"/>
                  <a:pt x="1813" y="191"/>
                </a:cubicBezTo>
                <a:cubicBezTo>
                  <a:pt x="1790" y="224"/>
                  <a:pt x="1790" y="224"/>
                  <a:pt x="1790" y="224"/>
                </a:cubicBezTo>
                <a:cubicBezTo>
                  <a:pt x="1755" y="202"/>
                  <a:pt x="1755" y="202"/>
                  <a:pt x="1755" y="202"/>
                </a:cubicBezTo>
                <a:cubicBezTo>
                  <a:pt x="1772" y="174"/>
                  <a:pt x="1772" y="174"/>
                  <a:pt x="1772" y="174"/>
                </a:cubicBezTo>
                <a:cubicBezTo>
                  <a:pt x="1757" y="159"/>
                  <a:pt x="1757" y="159"/>
                  <a:pt x="1757" y="159"/>
                </a:cubicBezTo>
                <a:cubicBezTo>
                  <a:pt x="1757" y="159"/>
                  <a:pt x="1764" y="73"/>
                  <a:pt x="1758" y="2"/>
                </a:cubicBezTo>
                <a:cubicBezTo>
                  <a:pt x="1754" y="0"/>
                  <a:pt x="1748" y="0"/>
                  <a:pt x="1742" y="3"/>
                </a:cubicBezTo>
                <a:cubicBezTo>
                  <a:pt x="1726" y="10"/>
                  <a:pt x="1703" y="38"/>
                  <a:pt x="1687" y="34"/>
                </a:cubicBezTo>
                <a:cubicBezTo>
                  <a:pt x="1670" y="30"/>
                  <a:pt x="1645" y="14"/>
                  <a:pt x="1639" y="14"/>
                </a:cubicBezTo>
                <a:cubicBezTo>
                  <a:pt x="1633" y="14"/>
                  <a:pt x="1599" y="32"/>
                  <a:pt x="1599" y="32"/>
                </a:cubicBezTo>
                <a:cubicBezTo>
                  <a:pt x="1599" y="32"/>
                  <a:pt x="1600" y="45"/>
                  <a:pt x="1591" y="53"/>
                </a:cubicBezTo>
                <a:cubicBezTo>
                  <a:pt x="1583" y="60"/>
                  <a:pt x="1573" y="101"/>
                  <a:pt x="1562" y="111"/>
                </a:cubicBezTo>
                <a:cubicBezTo>
                  <a:pt x="1552" y="122"/>
                  <a:pt x="1525" y="128"/>
                  <a:pt x="1525" y="128"/>
                </a:cubicBezTo>
                <a:cubicBezTo>
                  <a:pt x="1525" y="128"/>
                  <a:pt x="1443" y="198"/>
                  <a:pt x="1432" y="198"/>
                </a:cubicBezTo>
                <a:cubicBezTo>
                  <a:pt x="1420" y="198"/>
                  <a:pt x="1400" y="212"/>
                  <a:pt x="1373" y="211"/>
                </a:cubicBezTo>
                <a:cubicBezTo>
                  <a:pt x="1371" y="210"/>
                  <a:pt x="1369" y="210"/>
                  <a:pt x="1367" y="210"/>
                </a:cubicBezTo>
                <a:cubicBezTo>
                  <a:pt x="1343" y="209"/>
                  <a:pt x="1330" y="206"/>
                  <a:pt x="1330" y="206"/>
                </a:cubicBezTo>
                <a:cubicBezTo>
                  <a:pt x="1282" y="213"/>
                  <a:pt x="1282" y="213"/>
                  <a:pt x="1282" y="213"/>
                </a:cubicBezTo>
                <a:cubicBezTo>
                  <a:pt x="1282" y="213"/>
                  <a:pt x="1254" y="190"/>
                  <a:pt x="1247" y="180"/>
                </a:cubicBezTo>
                <a:cubicBezTo>
                  <a:pt x="1241" y="169"/>
                  <a:pt x="1204" y="179"/>
                  <a:pt x="1199" y="176"/>
                </a:cubicBezTo>
                <a:cubicBezTo>
                  <a:pt x="1195" y="173"/>
                  <a:pt x="1181" y="155"/>
                  <a:pt x="1164" y="155"/>
                </a:cubicBezTo>
                <a:cubicBezTo>
                  <a:pt x="1148" y="154"/>
                  <a:pt x="1134" y="165"/>
                  <a:pt x="1129" y="163"/>
                </a:cubicBezTo>
                <a:cubicBezTo>
                  <a:pt x="1125" y="162"/>
                  <a:pt x="1069" y="157"/>
                  <a:pt x="1069" y="157"/>
                </a:cubicBezTo>
                <a:cubicBezTo>
                  <a:pt x="1069" y="157"/>
                  <a:pt x="1008" y="207"/>
                  <a:pt x="995" y="206"/>
                </a:cubicBezTo>
                <a:cubicBezTo>
                  <a:pt x="982" y="206"/>
                  <a:pt x="913" y="202"/>
                  <a:pt x="897" y="179"/>
                </a:cubicBezTo>
                <a:cubicBezTo>
                  <a:pt x="882" y="155"/>
                  <a:pt x="877" y="119"/>
                  <a:pt x="869" y="115"/>
                </a:cubicBezTo>
                <a:cubicBezTo>
                  <a:pt x="861" y="111"/>
                  <a:pt x="812" y="104"/>
                  <a:pt x="812" y="104"/>
                </a:cubicBezTo>
                <a:cubicBezTo>
                  <a:pt x="812" y="104"/>
                  <a:pt x="798" y="89"/>
                  <a:pt x="766" y="88"/>
                </a:cubicBezTo>
                <a:cubicBezTo>
                  <a:pt x="735" y="86"/>
                  <a:pt x="719" y="92"/>
                  <a:pt x="719" y="92"/>
                </a:cubicBezTo>
                <a:cubicBezTo>
                  <a:pt x="668" y="62"/>
                  <a:pt x="668" y="62"/>
                  <a:pt x="668" y="62"/>
                </a:cubicBezTo>
                <a:cubicBezTo>
                  <a:pt x="668" y="62"/>
                  <a:pt x="663" y="97"/>
                  <a:pt x="656" y="101"/>
                </a:cubicBezTo>
                <a:cubicBezTo>
                  <a:pt x="649" y="105"/>
                  <a:pt x="632" y="122"/>
                  <a:pt x="632" y="122"/>
                </a:cubicBezTo>
                <a:cubicBezTo>
                  <a:pt x="632" y="122"/>
                  <a:pt x="615" y="163"/>
                  <a:pt x="620" y="183"/>
                </a:cubicBezTo>
                <a:cubicBezTo>
                  <a:pt x="625" y="203"/>
                  <a:pt x="653" y="231"/>
                  <a:pt x="653" y="231"/>
                </a:cubicBezTo>
                <a:cubicBezTo>
                  <a:pt x="653" y="231"/>
                  <a:pt x="646" y="273"/>
                  <a:pt x="638" y="277"/>
                </a:cubicBezTo>
                <a:cubicBezTo>
                  <a:pt x="630" y="280"/>
                  <a:pt x="584" y="308"/>
                  <a:pt x="584" y="308"/>
                </a:cubicBezTo>
                <a:cubicBezTo>
                  <a:pt x="584" y="308"/>
                  <a:pt x="563" y="293"/>
                  <a:pt x="561" y="293"/>
                </a:cubicBezTo>
                <a:cubicBezTo>
                  <a:pt x="559" y="293"/>
                  <a:pt x="529" y="296"/>
                  <a:pt x="529" y="296"/>
                </a:cubicBezTo>
                <a:cubicBezTo>
                  <a:pt x="529" y="296"/>
                  <a:pt x="518" y="289"/>
                  <a:pt x="508" y="289"/>
                </a:cubicBezTo>
                <a:cubicBezTo>
                  <a:pt x="498" y="289"/>
                  <a:pt x="479" y="302"/>
                  <a:pt x="479" y="302"/>
                </a:cubicBezTo>
                <a:cubicBezTo>
                  <a:pt x="479" y="302"/>
                  <a:pt x="458" y="286"/>
                  <a:pt x="445" y="287"/>
                </a:cubicBezTo>
                <a:cubicBezTo>
                  <a:pt x="432" y="287"/>
                  <a:pt x="425" y="294"/>
                  <a:pt x="424" y="291"/>
                </a:cubicBezTo>
                <a:cubicBezTo>
                  <a:pt x="424" y="288"/>
                  <a:pt x="410" y="245"/>
                  <a:pt x="408" y="243"/>
                </a:cubicBezTo>
                <a:cubicBezTo>
                  <a:pt x="406" y="241"/>
                  <a:pt x="332" y="241"/>
                  <a:pt x="329" y="240"/>
                </a:cubicBezTo>
                <a:cubicBezTo>
                  <a:pt x="327" y="238"/>
                  <a:pt x="317" y="227"/>
                  <a:pt x="315" y="227"/>
                </a:cubicBezTo>
                <a:cubicBezTo>
                  <a:pt x="313" y="226"/>
                  <a:pt x="296" y="228"/>
                  <a:pt x="296" y="228"/>
                </a:cubicBezTo>
                <a:cubicBezTo>
                  <a:pt x="286" y="219"/>
                  <a:pt x="286" y="219"/>
                  <a:pt x="286" y="219"/>
                </a:cubicBezTo>
                <a:cubicBezTo>
                  <a:pt x="273" y="236"/>
                  <a:pt x="273" y="236"/>
                  <a:pt x="273" y="236"/>
                </a:cubicBezTo>
                <a:cubicBezTo>
                  <a:pt x="273" y="236"/>
                  <a:pt x="258" y="224"/>
                  <a:pt x="244" y="235"/>
                </a:cubicBezTo>
                <a:cubicBezTo>
                  <a:pt x="231" y="247"/>
                  <a:pt x="230" y="265"/>
                  <a:pt x="228" y="265"/>
                </a:cubicBezTo>
                <a:cubicBezTo>
                  <a:pt x="225" y="265"/>
                  <a:pt x="207" y="252"/>
                  <a:pt x="188" y="267"/>
                </a:cubicBezTo>
                <a:cubicBezTo>
                  <a:pt x="170" y="283"/>
                  <a:pt x="124" y="320"/>
                  <a:pt x="124" y="326"/>
                </a:cubicBezTo>
                <a:cubicBezTo>
                  <a:pt x="124" y="332"/>
                  <a:pt x="74" y="355"/>
                  <a:pt x="74" y="355"/>
                </a:cubicBezTo>
                <a:cubicBezTo>
                  <a:pt x="29" y="353"/>
                  <a:pt x="29" y="353"/>
                  <a:pt x="29" y="353"/>
                </a:cubicBezTo>
                <a:cubicBezTo>
                  <a:pt x="29" y="353"/>
                  <a:pt x="16" y="371"/>
                  <a:pt x="1" y="378"/>
                </a:cubicBezTo>
                <a:cubicBezTo>
                  <a:pt x="0" y="401"/>
                  <a:pt x="0" y="401"/>
                  <a:pt x="0" y="401"/>
                </a:cubicBezTo>
                <a:lnTo>
                  <a:pt x="15" y="422"/>
                </a:ln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32" name="Freeform 211"/>
          <p:cNvSpPr>
            <a:spLocks/>
          </p:cNvSpPr>
          <p:nvPr/>
        </p:nvSpPr>
        <p:spPr bwMode="auto">
          <a:xfrm>
            <a:off x="6021388" y="4519613"/>
            <a:ext cx="1624012" cy="1495425"/>
          </a:xfrm>
          <a:custGeom>
            <a:avLst/>
            <a:gdLst>
              <a:gd name="T0" fmla="*/ 1115 w 1406"/>
              <a:gd name="T1" fmla="*/ 1179 h 1295"/>
              <a:gd name="T2" fmla="*/ 1124 w 1406"/>
              <a:gd name="T3" fmla="*/ 1082 h 1295"/>
              <a:gd name="T4" fmla="*/ 1193 w 1406"/>
              <a:gd name="T5" fmla="*/ 915 h 1295"/>
              <a:gd name="T6" fmla="*/ 1305 w 1406"/>
              <a:gd name="T7" fmla="*/ 900 h 1295"/>
              <a:gd name="T8" fmla="*/ 1325 w 1406"/>
              <a:gd name="T9" fmla="*/ 790 h 1295"/>
              <a:gd name="T10" fmla="*/ 1349 w 1406"/>
              <a:gd name="T11" fmla="*/ 749 h 1295"/>
              <a:gd name="T12" fmla="*/ 1394 w 1406"/>
              <a:gd name="T13" fmla="*/ 716 h 1295"/>
              <a:gd name="T14" fmla="*/ 1370 w 1406"/>
              <a:gd name="T15" fmla="*/ 685 h 1295"/>
              <a:gd name="T16" fmla="*/ 1405 w 1406"/>
              <a:gd name="T17" fmla="*/ 656 h 1295"/>
              <a:gd name="T18" fmla="*/ 1394 w 1406"/>
              <a:gd name="T19" fmla="*/ 611 h 1295"/>
              <a:gd name="T20" fmla="*/ 1339 w 1406"/>
              <a:gd name="T21" fmla="*/ 535 h 1295"/>
              <a:gd name="T22" fmla="*/ 1313 w 1406"/>
              <a:gd name="T23" fmla="*/ 473 h 1295"/>
              <a:gd name="T24" fmla="*/ 1397 w 1406"/>
              <a:gd name="T25" fmla="*/ 393 h 1295"/>
              <a:gd name="T26" fmla="*/ 1389 w 1406"/>
              <a:gd name="T27" fmla="*/ 341 h 1295"/>
              <a:gd name="T28" fmla="*/ 1379 w 1406"/>
              <a:gd name="T29" fmla="*/ 280 h 1295"/>
              <a:gd name="T30" fmla="*/ 1354 w 1406"/>
              <a:gd name="T31" fmla="*/ 214 h 1295"/>
              <a:gd name="T32" fmla="*/ 1344 w 1406"/>
              <a:gd name="T33" fmla="*/ 142 h 1295"/>
              <a:gd name="T34" fmla="*/ 1305 w 1406"/>
              <a:gd name="T35" fmla="*/ 85 h 1295"/>
              <a:gd name="T36" fmla="*/ 1225 w 1406"/>
              <a:gd name="T37" fmla="*/ 179 h 1295"/>
              <a:gd name="T38" fmla="*/ 1143 w 1406"/>
              <a:gd name="T39" fmla="*/ 266 h 1295"/>
              <a:gd name="T40" fmla="*/ 1100 w 1406"/>
              <a:gd name="T41" fmla="*/ 226 h 1295"/>
              <a:gd name="T42" fmla="*/ 1065 w 1406"/>
              <a:gd name="T43" fmla="*/ 191 h 1295"/>
              <a:gd name="T44" fmla="*/ 1028 w 1406"/>
              <a:gd name="T45" fmla="*/ 205 h 1295"/>
              <a:gd name="T46" fmla="*/ 949 w 1406"/>
              <a:gd name="T47" fmla="*/ 199 h 1295"/>
              <a:gd name="T48" fmla="*/ 860 w 1406"/>
              <a:gd name="T49" fmla="*/ 222 h 1295"/>
              <a:gd name="T50" fmla="*/ 753 w 1406"/>
              <a:gd name="T51" fmla="*/ 125 h 1295"/>
              <a:gd name="T52" fmla="*/ 602 w 1406"/>
              <a:gd name="T53" fmla="*/ 4 h 1295"/>
              <a:gd name="T54" fmla="*/ 488 w 1406"/>
              <a:gd name="T55" fmla="*/ 8 h 1295"/>
              <a:gd name="T56" fmla="*/ 333 w 1406"/>
              <a:gd name="T57" fmla="*/ 112 h 1295"/>
              <a:gd name="T58" fmla="*/ 357 w 1406"/>
              <a:gd name="T59" fmla="*/ 171 h 1295"/>
              <a:gd name="T60" fmla="*/ 380 w 1406"/>
              <a:gd name="T61" fmla="*/ 210 h 1295"/>
              <a:gd name="T62" fmla="*/ 359 w 1406"/>
              <a:gd name="T63" fmla="*/ 389 h 1295"/>
              <a:gd name="T64" fmla="*/ 339 w 1406"/>
              <a:gd name="T65" fmla="*/ 465 h 1295"/>
              <a:gd name="T66" fmla="*/ 252 w 1406"/>
              <a:gd name="T67" fmla="*/ 510 h 1295"/>
              <a:gd name="T68" fmla="*/ 231 w 1406"/>
              <a:gd name="T69" fmla="*/ 654 h 1295"/>
              <a:gd name="T70" fmla="*/ 229 w 1406"/>
              <a:gd name="T71" fmla="*/ 697 h 1295"/>
              <a:gd name="T72" fmla="*/ 287 w 1406"/>
              <a:gd name="T73" fmla="*/ 686 h 1295"/>
              <a:gd name="T74" fmla="*/ 355 w 1406"/>
              <a:gd name="T75" fmla="*/ 680 h 1295"/>
              <a:gd name="T76" fmla="*/ 547 w 1406"/>
              <a:gd name="T77" fmla="*/ 703 h 1295"/>
              <a:gd name="T78" fmla="*/ 419 w 1406"/>
              <a:gd name="T79" fmla="*/ 775 h 1295"/>
              <a:gd name="T80" fmla="*/ 406 w 1406"/>
              <a:gd name="T81" fmla="*/ 805 h 1295"/>
              <a:gd name="T82" fmla="*/ 346 w 1406"/>
              <a:gd name="T83" fmla="*/ 872 h 1295"/>
              <a:gd name="T84" fmla="*/ 257 w 1406"/>
              <a:gd name="T85" fmla="*/ 954 h 1295"/>
              <a:gd name="T86" fmla="*/ 119 w 1406"/>
              <a:gd name="T87" fmla="*/ 1030 h 1295"/>
              <a:gd name="T88" fmla="*/ 0 w 1406"/>
              <a:gd name="T89" fmla="*/ 1255 h 1295"/>
              <a:gd name="T90" fmla="*/ 813 w 1406"/>
              <a:gd name="T91" fmla="*/ 1295 h 1295"/>
              <a:gd name="T92" fmla="*/ 841 w 1406"/>
              <a:gd name="T93" fmla="*/ 1255 h 1295"/>
              <a:gd name="T94" fmla="*/ 908 w 1406"/>
              <a:gd name="T95" fmla="*/ 1153 h 1295"/>
              <a:gd name="T96" fmla="*/ 945 w 1406"/>
              <a:gd name="T97" fmla="*/ 1237 h 1295"/>
              <a:gd name="T98" fmla="*/ 938 w 1406"/>
              <a:gd name="T99" fmla="*/ 1278 h 1295"/>
              <a:gd name="T100" fmla="*/ 1002 w 1406"/>
              <a:gd name="T101" fmla="*/ 1295 h 1295"/>
              <a:gd name="T102" fmla="*/ 1072 w 1406"/>
              <a:gd name="T103" fmla="*/ 1192 h 1295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406"/>
              <a:gd name="T157" fmla="*/ 0 h 1295"/>
              <a:gd name="T158" fmla="*/ 1406 w 1406"/>
              <a:gd name="T159" fmla="*/ 1295 h 1295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406" h="1295">
                <a:moveTo>
                  <a:pt x="1072" y="1192"/>
                </a:moveTo>
                <a:cubicBezTo>
                  <a:pt x="1092" y="1186"/>
                  <a:pt x="1115" y="1179"/>
                  <a:pt x="1115" y="1179"/>
                </a:cubicBezTo>
                <a:cubicBezTo>
                  <a:pt x="1115" y="1179"/>
                  <a:pt x="1113" y="1173"/>
                  <a:pt x="1111" y="1163"/>
                </a:cubicBezTo>
                <a:cubicBezTo>
                  <a:pt x="1106" y="1141"/>
                  <a:pt x="1102" y="1104"/>
                  <a:pt x="1124" y="1082"/>
                </a:cubicBezTo>
                <a:cubicBezTo>
                  <a:pt x="1156" y="1051"/>
                  <a:pt x="1189" y="1041"/>
                  <a:pt x="1189" y="1010"/>
                </a:cubicBezTo>
                <a:cubicBezTo>
                  <a:pt x="1189" y="978"/>
                  <a:pt x="1165" y="913"/>
                  <a:pt x="1193" y="915"/>
                </a:cubicBezTo>
                <a:cubicBezTo>
                  <a:pt x="1221" y="917"/>
                  <a:pt x="1212" y="922"/>
                  <a:pt x="1247" y="922"/>
                </a:cubicBezTo>
                <a:cubicBezTo>
                  <a:pt x="1282" y="922"/>
                  <a:pt x="1305" y="900"/>
                  <a:pt x="1305" y="900"/>
                </a:cubicBezTo>
                <a:cubicBezTo>
                  <a:pt x="1305" y="900"/>
                  <a:pt x="1253" y="859"/>
                  <a:pt x="1267" y="844"/>
                </a:cubicBezTo>
                <a:cubicBezTo>
                  <a:pt x="1282" y="829"/>
                  <a:pt x="1325" y="807"/>
                  <a:pt x="1325" y="790"/>
                </a:cubicBezTo>
                <a:cubicBezTo>
                  <a:pt x="1325" y="773"/>
                  <a:pt x="1320" y="760"/>
                  <a:pt x="1325" y="760"/>
                </a:cubicBezTo>
                <a:cubicBezTo>
                  <a:pt x="1331" y="760"/>
                  <a:pt x="1355" y="757"/>
                  <a:pt x="1349" y="749"/>
                </a:cubicBezTo>
                <a:cubicBezTo>
                  <a:pt x="1344" y="742"/>
                  <a:pt x="1333" y="695"/>
                  <a:pt x="1333" y="695"/>
                </a:cubicBezTo>
                <a:cubicBezTo>
                  <a:pt x="1394" y="716"/>
                  <a:pt x="1394" y="716"/>
                  <a:pt x="1394" y="716"/>
                </a:cubicBezTo>
                <a:cubicBezTo>
                  <a:pt x="1393" y="701"/>
                  <a:pt x="1393" y="701"/>
                  <a:pt x="1393" y="701"/>
                </a:cubicBezTo>
                <a:cubicBezTo>
                  <a:pt x="1382" y="693"/>
                  <a:pt x="1370" y="685"/>
                  <a:pt x="1370" y="685"/>
                </a:cubicBezTo>
                <a:cubicBezTo>
                  <a:pt x="1370" y="685"/>
                  <a:pt x="1372" y="683"/>
                  <a:pt x="1375" y="681"/>
                </a:cubicBezTo>
                <a:cubicBezTo>
                  <a:pt x="1384" y="674"/>
                  <a:pt x="1401" y="661"/>
                  <a:pt x="1405" y="656"/>
                </a:cubicBezTo>
                <a:cubicBezTo>
                  <a:pt x="1406" y="655"/>
                  <a:pt x="1406" y="655"/>
                  <a:pt x="1406" y="655"/>
                </a:cubicBezTo>
                <a:cubicBezTo>
                  <a:pt x="1406" y="653"/>
                  <a:pt x="1394" y="611"/>
                  <a:pt x="1394" y="611"/>
                </a:cubicBezTo>
                <a:cubicBezTo>
                  <a:pt x="1394" y="611"/>
                  <a:pt x="1373" y="599"/>
                  <a:pt x="1365" y="585"/>
                </a:cubicBezTo>
                <a:cubicBezTo>
                  <a:pt x="1357" y="571"/>
                  <a:pt x="1370" y="551"/>
                  <a:pt x="1339" y="535"/>
                </a:cubicBezTo>
                <a:cubicBezTo>
                  <a:pt x="1309" y="519"/>
                  <a:pt x="1289" y="496"/>
                  <a:pt x="1289" y="496"/>
                </a:cubicBezTo>
                <a:cubicBezTo>
                  <a:pt x="1313" y="473"/>
                  <a:pt x="1313" y="473"/>
                  <a:pt x="1313" y="473"/>
                </a:cubicBezTo>
                <a:cubicBezTo>
                  <a:pt x="1321" y="427"/>
                  <a:pt x="1321" y="427"/>
                  <a:pt x="1321" y="427"/>
                </a:cubicBezTo>
                <a:cubicBezTo>
                  <a:pt x="1321" y="427"/>
                  <a:pt x="1403" y="402"/>
                  <a:pt x="1397" y="393"/>
                </a:cubicBezTo>
                <a:cubicBezTo>
                  <a:pt x="1391" y="385"/>
                  <a:pt x="1375" y="372"/>
                  <a:pt x="1375" y="367"/>
                </a:cubicBezTo>
                <a:cubicBezTo>
                  <a:pt x="1376" y="363"/>
                  <a:pt x="1393" y="347"/>
                  <a:pt x="1389" y="341"/>
                </a:cubicBezTo>
                <a:cubicBezTo>
                  <a:pt x="1384" y="335"/>
                  <a:pt x="1375" y="325"/>
                  <a:pt x="1375" y="322"/>
                </a:cubicBezTo>
                <a:cubicBezTo>
                  <a:pt x="1374" y="319"/>
                  <a:pt x="1380" y="282"/>
                  <a:pt x="1379" y="280"/>
                </a:cubicBezTo>
                <a:cubicBezTo>
                  <a:pt x="1377" y="278"/>
                  <a:pt x="1369" y="265"/>
                  <a:pt x="1362" y="253"/>
                </a:cubicBezTo>
                <a:cubicBezTo>
                  <a:pt x="1355" y="240"/>
                  <a:pt x="1360" y="224"/>
                  <a:pt x="1354" y="214"/>
                </a:cubicBezTo>
                <a:cubicBezTo>
                  <a:pt x="1348" y="204"/>
                  <a:pt x="1327" y="179"/>
                  <a:pt x="1330" y="173"/>
                </a:cubicBezTo>
                <a:cubicBezTo>
                  <a:pt x="1333" y="167"/>
                  <a:pt x="1348" y="150"/>
                  <a:pt x="1344" y="142"/>
                </a:cubicBezTo>
                <a:cubicBezTo>
                  <a:pt x="1340" y="134"/>
                  <a:pt x="1318" y="121"/>
                  <a:pt x="1316" y="118"/>
                </a:cubicBezTo>
                <a:cubicBezTo>
                  <a:pt x="1314" y="115"/>
                  <a:pt x="1316" y="83"/>
                  <a:pt x="1305" y="85"/>
                </a:cubicBezTo>
                <a:cubicBezTo>
                  <a:pt x="1293" y="88"/>
                  <a:pt x="1259" y="149"/>
                  <a:pt x="1259" y="149"/>
                </a:cubicBezTo>
                <a:cubicBezTo>
                  <a:pt x="1259" y="149"/>
                  <a:pt x="1226" y="163"/>
                  <a:pt x="1225" y="179"/>
                </a:cubicBezTo>
                <a:cubicBezTo>
                  <a:pt x="1223" y="195"/>
                  <a:pt x="1225" y="213"/>
                  <a:pt x="1225" y="213"/>
                </a:cubicBezTo>
                <a:cubicBezTo>
                  <a:pt x="1143" y="266"/>
                  <a:pt x="1143" y="266"/>
                  <a:pt x="1143" y="266"/>
                </a:cubicBezTo>
                <a:cubicBezTo>
                  <a:pt x="1143" y="266"/>
                  <a:pt x="1108" y="253"/>
                  <a:pt x="1105" y="251"/>
                </a:cubicBezTo>
                <a:cubicBezTo>
                  <a:pt x="1103" y="249"/>
                  <a:pt x="1100" y="226"/>
                  <a:pt x="1100" y="226"/>
                </a:cubicBezTo>
                <a:cubicBezTo>
                  <a:pt x="1100" y="226"/>
                  <a:pt x="1071" y="213"/>
                  <a:pt x="1068" y="202"/>
                </a:cubicBezTo>
                <a:cubicBezTo>
                  <a:pt x="1065" y="191"/>
                  <a:pt x="1065" y="191"/>
                  <a:pt x="1065" y="191"/>
                </a:cubicBezTo>
                <a:cubicBezTo>
                  <a:pt x="1060" y="179"/>
                  <a:pt x="1060" y="179"/>
                  <a:pt x="1060" y="179"/>
                </a:cubicBezTo>
                <a:cubicBezTo>
                  <a:pt x="1060" y="179"/>
                  <a:pt x="1045" y="213"/>
                  <a:pt x="1028" y="205"/>
                </a:cubicBezTo>
                <a:cubicBezTo>
                  <a:pt x="1011" y="197"/>
                  <a:pt x="983" y="180"/>
                  <a:pt x="977" y="181"/>
                </a:cubicBezTo>
                <a:cubicBezTo>
                  <a:pt x="971" y="181"/>
                  <a:pt x="963" y="202"/>
                  <a:pt x="949" y="199"/>
                </a:cubicBezTo>
                <a:cubicBezTo>
                  <a:pt x="935" y="196"/>
                  <a:pt x="925" y="190"/>
                  <a:pt x="921" y="191"/>
                </a:cubicBezTo>
                <a:cubicBezTo>
                  <a:pt x="917" y="192"/>
                  <a:pt x="881" y="245"/>
                  <a:pt x="860" y="222"/>
                </a:cubicBezTo>
                <a:cubicBezTo>
                  <a:pt x="839" y="199"/>
                  <a:pt x="836" y="190"/>
                  <a:pt x="825" y="181"/>
                </a:cubicBezTo>
                <a:cubicBezTo>
                  <a:pt x="813" y="171"/>
                  <a:pt x="777" y="142"/>
                  <a:pt x="753" y="125"/>
                </a:cubicBezTo>
                <a:cubicBezTo>
                  <a:pt x="730" y="109"/>
                  <a:pt x="706" y="80"/>
                  <a:pt x="687" y="61"/>
                </a:cubicBezTo>
                <a:cubicBezTo>
                  <a:pt x="667" y="42"/>
                  <a:pt x="637" y="8"/>
                  <a:pt x="602" y="4"/>
                </a:cubicBezTo>
                <a:cubicBezTo>
                  <a:pt x="567" y="0"/>
                  <a:pt x="528" y="18"/>
                  <a:pt x="528" y="18"/>
                </a:cubicBezTo>
                <a:cubicBezTo>
                  <a:pt x="528" y="18"/>
                  <a:pt x="511" y="5"/>
                  <a:pt x="488" y="8"/>
                </a:cubicBezTo>
                <a:cubicBezTo>
                  <a:pt x="465" y="11"/>
                  <a:pt x="432" y="36"/>
                  <a:pt x="415" y="49"/>
                </a:cubicBezTo>
                <a:cubicBezTo>
                  <a:pt x="398" y="62"/>
                  <a:pt x="333" y="112"/>
                  <a:pt x="333" y="112"/>
                </a:cubicBezTo>
                <a:cubicBezTo>
                  <a:pt x="318" y="174"/>
                  <a:pt x="318" y="174"/>
                  <a:pt x="318" y="174"/>
                </a:cubicBezTo>
                <a:cubicBezTo>
                  <a:pt x="318" y="174"/>
                  <a:pt x="355" y="163"/>
                  <a:pt x="357" y="171"/>
                </a:cubicBezTo>
                <a:cubicBezTo>
                  <a:pt x="360" y="179"/>
                  <a:pt x="359" y="196"/>
                  <a:pt x="359" y="196"/>
                </a:cubicBezTo>
                <a:cubicBezTo>
                  <a:pt x="359" y="196"/>
                  <a:pt x="380" y="191"/>
                  <a:pt x="380" y="210"/>
                </a:cubicBezTo>
                <a:cubicBezTo>
                  <a:pt x="380" y="229"/>
                  <a:pt x="362" y="269"/>
                  <a:pt x="362" y="269"/>
                </a:cubicBezTo>
                <a:cubicBezTo>
                  <a:pt x="362" y="269"/>
                  <a:pt x="345" y="380"/>
                  <a:pt x="359" y="389"/>
                </a:cubicBezTo>
                <a:cubicBezTo>
                  <a:pt x="374" y="399"/>
                  <a:pt x="386" y="404"/>
                  <a:pt x="382" y="418"/>
                </a:cubicBezTo>
                <a:cubicBezTo>
                  <a:pt x="378" y="431"/>
                  <a:pt x="347" y="453"/>
                  <a:pt x="339" y="465"/>
                </a:cubicBezTo>
                <a:cubicBezTo>
                  <a:pt x="330" y="478"/>
                  <a:pt x="322" y="508"/>
                  <a:pt x="322" y="508"/>
                </a:cubicBezTo>
                <a:cubicBezTo>
                  <a:pt x="322" y="508"/>
                  <a:pt x="262" y="515"/>
                  <a:pt x="252" y="510"/>
                </a:cubicBezTo>
                <a:cubicBezTo>
                  <a:pt x="245" y="507"/>
                  <a:pt x="239" y="501"/>
                  <a:pt x="232" y="497"/>
                </a:cubicBezTo>
                <a:cubicBezTo>
                  <a:pt x="238" y="568"/>
                  <a:pt x="231" y="654"/>
                  <a:pt x="231" y="654"/>
                </a:cubicBezTo>
                <a:cubicBezTo>
                  <a:pt x="246" y="669"/>
                  <a:pt x="246" y="669"/>
                  <a:pt x="246" y="669"/>
                </a:cubicBezTo>
                <a:cubicBezTo>
                  <a:pt x="229" y="697"/>
                  <a:pt x="229" y="697"/>
                  <a:pt x="229" y="697"/>
                </a:cubicBezTo>
                <a:cubicBezTo>
                  <a:pt x="264" y="719"/>
                  <a:pt x="264" y="719"/>
                  <a:pt x="264" y="719"/>
                </a:cubicBezTo>
                <a:cubicBezTo>
                  <a:pt x="287" y="686"/>
                  <a:pt x="287" y="686"/>
                  <a:pt x="287" y="686"/>
                </a:cubicBezTo>
                <a:cubicBezTo>
                  <a:pt x="329" y="669"/>
                  <a:pt x="329" y="669"/>
                  <a:pt x="329" y="669"/>
                </a:cubicBezTo>
                <a:cubicBezTo>
                  <a:pt x="355" y="680"/>
                  <a:pt x="355" y="680"/>
                  <a:pt x="355" y="680"/>
                </a:cubicBezTo>
                <a:cubicBezTo>
                  <a:pt x="385" y="634"/>
                  <a:pt x="385" y="634"/>
                  <a:pt x="385" y="634"/>
                </a:cubicBezTo>
                <a:cubicBezTo>
                  <a:pt x="385" y="634"/>
                  <a:pt x="568" y="684"/>
                  <a:pt x="547" y="703"/>
                </a:cubicBezTo>
                <a:cubicBezTo>
                  <a:pt x="527" y="721"/>
                  <a:pt x="484" y="734"/>
                  <a:pt x="484" y="734"/>
                </a:cubicBezTo>
                <a:cubicBezTo>
                  <a:pt x="419" y="775"/>
                  <a:pt x="419" y="775"/>
                  <a:pt x="419" y="775"/>
                </a:cubicBezTo>
                <a:cubicBezTo>
                  <a:pt x="400" y="771"/>
                  <a:pt x="400" y="771"/>
                  <a:pt x="400" y="771"/>
                </a:cubicBezTo>
                <a:cubicBezTo>
                  <a:pt x="400" y="771"/>
                  <a:pt x="428" y="803"/>
                  <a:pt x="406" y="805"/>
                </a:cubicBezTo>
                <a:cubicBezTo>
                  <a:pt x="383" y="807"/>
                  <a:pt x="359" y="827"/>
                  <a:pt x="359" y="827"/>
                </a:cubicBezTo>
                <a:cubicBezTo>
                  <a:pt x="346" y="872"/>
                  <a:pt x="346" y="872"/>
                  <a:pt x="346" y="872"/>
                </a:cubicBezTo>
                <a:cubicBezTo>
                  <a:pt x="346" y="872"/>
                  <a:pt x="324" y="930"/>
                  <a:pt x="316" y="931"/>
                </a:cubicBezTo>
                <a:cubicBezTo>
                  <a:pt x="309" y="933"/>
                  <a:pt x="257" y="954"/>
                  <a:pt x="257" y="954"/>
                </a:cubicBezTo>
                <a:cubicBezTo>
                  <a:pt x="257" y="954"/>
                  <a:pt x="238" y="1034"/>
                  <a:pt x="201" y="1036"/>
                </a:cubicBezTo>
                <a:cubicBezTo>
                  <a:pt x="164" y="1038"/>
                  <a:pt x="164" y="1004"/>
                  <a:pt x="119" y="1030"/>
                </a:cubicBezTo>
                <a:cubicBezTo>
                  <a:pt x="74" y="1056"/>
                  <a:pt x="61" y="1203"/>
                  <a:pt x="61" y="1203"/>
                </a:cubicBezTo>
                <a:cubicBezTo>
                  <a:pt x="0" y="1255"/>
                  <a:pt x="0" y="1255"/>
                  <a:pt x="0" y="1255"/>
                </a:cubicBezTo>
                <a:cubicBezTo>
                  <a:pt x="10" y="1295"/>
                  <a:pt x="10" y="1295"/>
                  <a:pt x="10" y="1295"/>
                </a:cubicBezTo>
                <a:cubicBezTo>
                  <a:pt x="813" y="1295"/>
                  <a:pt x="813" y="1295"/>
                  <a:pt x="813" y="1295"/>
                </a:cubicBezTo>
                <a:cubicBezTo>
                  <a:pt x="814" y="1294"/>
                  <a:pt x="815" y="1293"/>
                  <a:pt x="815" y="1293"/>
                </a:cubicBezTo>
                <a:cubicBezTo>
                  <a:pt x="815" y="1293"/>
                  <a:pt x="839" y="1272"/>
                  <a:pt x="841" y="1255"/>
                </a:cubicBezTo>
                <a:cubicBezTo>
                  <a:pt x="843" y="1239"/>
                  <a:pt x="837" y="1179"/>
                  <a:pt x="856" y="1177"/>
                </a:cubicBezTo>
                <a:cubicBezTo>
                  <a:pt x="875" y="1175"/>
                  <a:pt x="908" y="1153"/>
                  <a:pt x="908" y="1153"/>
                </a:cubicBezTo>
                <a:cubicBezTo>
                  <a:pt x="908" y="1153"/>
                  <a:pt x="944" y="1127"/>
                  <a:pt x="951" y="1166"/>
                </a:cubicBezTo>
                <a:cubicBezTo>
                  <a:pt x="958" y="1205"/>
                  <a:pt x="945" y="1237"/>
                  <a:pt x="945" y="1237"/>
                </a:cubicBezTo>
                <a:cubicBezTo>
                  <a:pt x="931" y="1261"/>
                  <a:pt x="931" y="1261"/>
                  <a:pt x="931" y="1261"/>
                </a:cubicBezTo>
                <a:cubicBezTo>
                  <a:pt x="938" y="1278"/>
                  <a:pt x="938" y="1278"/>
                  <a:pt x="938" y="1278"/>
                </a:cubicBezTo>
                <a:cubicBezTo>
                  <a:pt x="927" y="1295"/>
                  <a:pt x="927" y="1295"/>
                  <a:pt x="927" y="1295"/>
                </a:cubicBezTo>
                <a:cubicBezTo>
                  <a:pt x="1002" y="1295"/>
                  <a:pt x="1002" y="1295"/>
                  <a:pt x="1002" y="1295"/>
                </a:cubicBezTo>
                <a:cubicBezTo>
                  <a:pt x="1003" y="1283"/>
                  <a:pt x="1003" y="1283"/>
                  <a:pt x="1003" y="1283"/>
                </a:cubicBezTo>
                <a:cubicBezTo>
                  <a:pt x="1003" y="1283"/>
                  <a:pt x="1052" y="1198"/>
                  <a:pt x="1072" y="1192"/>
                </a:cubicBez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33" name="Freeform 212"/>
          <p:cNvSpPr>
            <a:spLocks/>
          </p:cNvSpPr>
          <p:nvPr/>
        </p:nvSpPr>
        <p:spPr bwMode="auto">
          <a:xfrm>
            <a:off x="7586663" y="5830888"/>
            <a:ext cx="360362" cy="184150"/>
          </a:xfrm>
          <a:custGeom>
            <a:avLst/>
            <a:gdLst>
              <a:gd name="T0" fmla="*/ 272 w 313"/>
              <a:gd name="T1" fmla="*/ 114 h 159"/>
              <a:gd name="T2" fmla="*/ 264 w 313"/>
              <a:gd name="T3" fmla="*/ 80 h 159"/>
              <a:gd name="T4" fmla="*/ 152 w 313"/>
              <a:gd name="T5" fmla="*/ 19 h 159"/>
              <a:gd name="T6" fmla="*/ 100 w 313"/>
              <a:gd name="T7" fmla="*/ 0 h 159"/>
              <a:gd name="T8" fmla="*/ 100 w 313"/>
              <a:gd name="T9" fmla="*/ 17 h 159"/>
              <a:gd name="T10" fmla="*/ 28 w 313"/>
              <a:gd name="T11" fmla="*/ 63 h 159"/>
              <a:gd name="T12" fmla="*/ 28 w 313"/>
              <a:gd name="T13" fmla="*/ 123 h 159"/>
              <a:gd name="T14" fmla="*/ 6 w 313"/>
              <a:gd name="T15" fmla="*/ 123 h 159"/>
              <a:gd name="T16" fmla="*/ 17 w 313"/>
              <a:gd name="T17" fmla="*/ 145 h 159"/>
              <a:gd name="T18" fmla="*/ 50 w 313"/>
              <a:gd name="T19" fmla="*/ 155 h 159"/>
              <a:gd name="T20" fmla="*/ 53 w 313"/>
              <a:gd name="T21" fmla="*/ 159 h 159"/>
              <a:gd name="T22" fmla="*/ 313 w 313"/>
              <a:gd name="T23" fmla="*/ 159 h 159"/>
              <a:gd name="T24" fmla="*/ 300 w 313"/>
              <a:gd name="T25" fmla="*/ 149 h 159"/>
              <a:gd name="T26" fmla="*/ 272 w 313"/>
              <a:gd name="T27" fmla="*/ 114 h 15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313"/>
              <a:gd name="T43" fmla="*/ 0 h 159"/>
              <a:gd name="T44" fmla="*/ 313 w 313"/>
              <a:gd name="T45" fmla="*/ 159 h 159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313" h="159">
                <a:moveTo>
                  <a:pt x="272" y="114"/>
                </a:moveTo>
                <a:cubicBezTo>
                  <a:pt x="272" y="114"/>
                  <a:pt x="266" y="95"/>
                  <a:pt x="264" y="80"/>
                </a:cubicBezTo>
                <a:cubicBezTo>
                  <a:pt x="262" y="65"/>
                  <a:pt x="180" y="24"/>
                  <a:pt x="152" y="19"/>
                </a:cubicBezTo>
                <a:cubicBezTo>
                  <a:pt x="135" y="15"/>
                  <a:pt x="114" y="6"/>
                  <a:pt x="100" y="0"/>
                </a:cubicBezTo>
                <a:cubicBezTo>
                  <a:pt x="100" y="5"/>
                  <a:pt x="100" y="10"/>
                  <a:pt x="100" y="17"/>
                </a:cubicBezTo>
                <a:cubicBezTo>
                  <a:pt x="100" y="41"/>
                  <a:pt x="56" y="63"/>
                  <a:pt x="28" y="63"/>
                </a:cubicBezTo>
                <a:cubicBezTo>
                  <a:pt x="0" y="63"/>
                  <a:pt x="28" y="123"/>
                  <a:pt x="28" y="123"/>
                </a:cubicBezTo>
                <a:cubicBezTo>
                  <a:pt x="6" y="123"/>
                  <a:pt x="6" y="123"/>
                  <a:pt x="6" y="123"/>
                </a:cubicBezTo>
                <a:cubicBezTo>
                  <a:pt x="10" y="133"/>
                  <a:pt x="15" y="142"/>
                  <a:pt x="17" y="145"/>
                </a:cubicBezTo>
                <a:cubicBezTo>
                  <a:pt x="20" y="151"/>
                  <a:pt x="50" y="155"/>
                  <a:pt x="50" y="155"/>
                </a:cubicBezTo>
                <a:cubicBezTo>
                  <a:pt x="53" y="159"/>
                  <a:pt x="53" y="159"/>
                  <a:pt x="53" y="159"/>
                </a:cubicBezTo>
                <a:cubicBezTo>
                  <a:pt x="313" y="159"/>
                  <a:pt x="313" y="159"/>
                  <a:pt x="313" y="159"/>
                </a:cubicBezTo>
                <a:cubicBezTo>
                  <a:pt x="305" y="153"/>
                  <a:pt x="300" y="149"/>
                  <a:pt x="300" y="149"/>
                </a:cubicBezTo>
                <a:lnTo>
                  <a:pt x="272" y="114"/>
                </a:ln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34" name="Freeform 213"/>
          <p:cNvSpPr>
            <a:spLocks/>
          </p:cNvSpPr>
          <p:nvPr/>
        </p:nvSpPr>
        <p:spPr bwMode="auto">
          <a:xfrm>
            <a:off x="7294563" y="5295900"/>
            <a:ext cx="406400" cy="719138"/>
          </a:xfrm>
          <a:custGeom>
            <a:avLst/>
            <a:gdLst>
              <a:gd name="T0" fmla="*/ 201 w 353"/>
              <a:gd name="T1" fmla="*/ 605 h 622"/>
              <a:gd name="T2" fmla="*/ 234 w 353"/>
              <a:gd name="T3" fmla="*/ 605 h 622"/>
              <a:gd name="T4" fmla="*/ 245 w 353"/>
              <a:gd name="T5" fmla="*/ 586 h 622"/>
              <a:gd name="T6" fmla="*/ 259 w 353"/>
              <a:gd name="T7" fmla="*/ 586 h 622"/>
              <a:gd name="T8" fmla="*/ 281 w 353"/>
              <a:gd name="T9" fmla="*/ 586 h 622"/>
              <a:gd name="T10" fmla="*/ 281 w 353"/>
              <a:gd name="T11" fmla="*/ 526 h 622"/>
              <a:gd name="T12" fmla="*/ 353 w 353"/>
              <a:gd name="T13" fmla="*/ 480 h 622"/>
              <a:gd name="T14" fmla="*/ 353 w 353"/>
              <a:gd name="T15" fmla="*/ 463 h 622"/>
              <a:gd name="T16" fmla="*/ 353 w 353"/>
              <a:gd name="T17" fmla="*/ 445 h 622"/>
              <a:gd name="T18" fmla="*/ 281 w 353"/>
              <a:gd name="T19" fmla="*/ 419 h 622"/>
              <a:gd name="T20" fmla="*/ 251 w 353"/>
              <a:gd name="T21" fmla="*/ 428 h 622"/>
              <a:gd name="T22" fmla="*/ 249 w 353"/>
              <a:gd name="T23" fmla="*/ 400 h 622"/>
              <a:gd name="T24" fmla="*/ 253 w 353"/>
              <a:gd name="T25" fmla="*/ 346 h 622"/>
              <a:gd name="T26" fmla="*/ 303 w 353"/>
              <a:gd name="T27" fmla="*/ 290 h 622"/>
              <a:gd name="T28" fmla="*/ 305 w 353"/>
              <a:gd name="T29" fmla="*/ 221 h 622"/>
              <a:gd name="T30" fmla="*/ 325 w 353"/>
              <a:gd name="T31" fmla="*/ 197 h 622"/>
              <a:gd name="T32" fmla="*/ 292 w 353"/>
              <a:gd name="T33" fmla="*/ 156 h 622"/>
              <a:gd name="T34" fmla="*/ 281 w 353"/>
              <a:gd name="T35" fmla="*/ 143 h 622"/>
              <a:gd name="T36" fmla="*/ 296 w 353"/>
              <a:gd name="T37" fmla="*/ 30 h 622"/>
              <a:gd name="T38" fmla="*/ 273 w 353"/>
              <a:gd name="T39" fmla="*/ 8 h 622"/>
              <a:gd name="T40" fmla="*/ 268 w 353"/>
              <a:gd name="T41" fmla="*/ 12 h 622"/>
              <a:gd name="T42" fmla="*/ 291 w 353"/>
              <a:gd name="T43" fmla="*/ 28 h 622"/>
              <a:gd name="T44" fmla="*/ 292 w 353"/>
              <a:gd name="T45" fmla="*/ 43 h 622"/>
              <a:gd name="T46" fmla="*/ 231 w 353"/>
              <a:gd name="T47" fmla="*/ 22 h 622"/>
              <a:gd name="T48" fmla="*/ 247 w 353"/>
              <a:gd name="T49" fmla="*/ 76 h 622"/>
              <a:gd name="T50" fmla="*/ 223 w 353"/>
              <a:gd name="T51" fmla="*/ 87 h 622"/>
              <a:gd name="T52" fmla="*/ 223 w 353"/>
              <a:gd name="T53" fmla="*/ 117 h 622"/>
              <a:gd name="T54" fmla="*/ 165 w 353"/>
              <a:gd name="T55" fmla="*/ 171 h 622"/>
              <a:gd name="T56" fmla="*/ 203 w 353"/>
              <a:gd name="T57" fmla="*/ 227 h 622"/>
              <a:gd name="T58" fmla="*/ 145 w 353"/>
              <a:gd name="T59" fmla="*/ 249 h 622"/>
              <a:gd name="T60" fmla="*/ 91 w 353"/>
              <a:gd name="T61" fmla="*/ 242 h 622"/>
              <a:gd name="T62" fmla="*/ 87 w 353"/>
              <a:gd name="T63" fmla="*/ 337 h 622"/>
              <a:gd name="T64" fmla="*/ 22 w 353"/>
              <a:gd name="T65" fmla="*/ 409 h 622"/>
              <a:gd name="T66" fmla="*/ 9 w 353"/>
              <a:gd name="T67" fmla="*/ 490 h 622"/>
              <a:gd name="T68" fmla="*/ 39 w 353"/>
              <a:gd name="T69" fmla="*/ 491 h 622"/>
              <a:gd name="T70" fmla="*/ 76 w 353"/>
              <a:gd name="T71" fmla="*/ 487 h 622"/>
              <a:gd name="T72" fmla="*/ 108 w 353"/>
              <a:gd name="T73" fmla="*/ 482 h 622"/>
              <a:gd name="T74" fmla="*/ 119 w 353"/>
              <a:gd name="T75" fmla="*/ 512 h 622"/>
              <a:gd name="T76" fmla="*/ 119 w 353"/>
              <a:gd name="T77" fmla="*/ 556 h 622"/>
              <a:gd name="T78" fmla="*/ 158 w 353"/>
              <a:gd name="T79" fmla="*/ 556 h 622"/>
              <a:gd name="T80" fmla="*/ 130 w 353"/>
              <a:gd name="T81" fmla="*/ 582 h 622"/>
              <a:gd name="T82" fmla="*/ 129 w 353"/>
              <a:gd name="T83" fmla="*/ 622 h 622"/>
              <a:gd name="T84" fmla="*/ 203 w 353"/>
              <a:gd name="T85" fmla="*/ 622 h 622"/>
              <a:gd name="T86" fmla="*/ 204 w 353"/>
              <a:gd name="T87" fmla="*/ 616 h 622"/>
              <a:gd name="T88" fmla="*/ 201 w 353"/>
              <a:gd name="T89" fmla="*/ 605 h 62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353"/>
              <a:gd name="T136" fmla="*/ 0 h 622"/>
              <a:gd name="T137" fmla="*/ 353 w 353"/>
              <a:gd name="T138" fmla="*/ 622 h 62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353" h="622">
                <a:moveTo>
                  <a:pt x="201" y="605"/>
                </a:moveTo>
                <a:cubicBezTo>
                  <a:pt x="234" y="605"/>
                  <a:pt x="234" y="605"/>
                  <a:pt x="234" y="605"/>
                </a:cubicBezTo>
                <a:cubicBezTo>
                  <a:pt x="245" y="586"/>
                  <a:pt x="245" y="586"/>
                  <a:pt x="245" y="586"/>
                </a:cubicBezTo>
                <a:cubicBezTo>
                  <a:pt x="259" y="586"/>
                  <a:pt x="259" y="586"/>
                  <a:pt x="259" y="586"/>
                </a:cubicBezTo>
                <a:cubicBezTo>
                  <a:pt x="281" y="586"/>
                  <a:pt x="281" y="586"/>
                  <a:pt x="281" y="586"/>
                </a:cubicBezTo>
                <a:cubicBezTo>
                  <a:pt x="281" y="586"/>
                  <a:pt x="253" y="526"/>
                  <a:pt x="281" y="526"/>
                </a:cubicBezTo>
                <a:cubicBezTo>
                  <a:pt x="309" y="526"/>
                  <a:pt x="353" y="504"/>
                  <a:pt x="353" y="480"/>
                </a:cubicBezTo>
                <a:cubicBezTo>
                  <a:pt x="353" y="473"/>
                  <a:pt x="353" y="468"/>
                  <a:pt x="353" y="463"/>
                </a:cubicBezTo>
                <a:cubicBezTo>
                  <a:pt x="353" y="450"/>
                  <a:pt x="353" y="445"/>
                  <a:pt x="353" y="445"/>
                </a:cubicBezTo>
                <a:cubicBezTo>
                  <a:pt x="353" y="445"/>
                  <a:pt x="298" y="417"/>
                  <a:pt x="281" y="419"/>
                </a:cubicBezTo>
                <a:cubicBezTo>
                  <a:pt x="264" y="420"/>
                  <a:pt x="251" y="428"/>
                  <a:pt x="251" y="428"/>
                </a:cubicBezTo>
                <a:cubicBezTo>
                  <a:pt x="251" y="428"/>
                  <a:pt x="249" y="411"/>
                  <a:pt x="249" y="400"/>
                </a:cubicBezTo>
                <a:cubicBezTo>
                  <a:pt x="249" y="389"/>
                  <a:pt x="240" y="365"/>
                  <a:pt x="253" y="346"/>
                </a:cubicBezTo>
                <a:cubicBezTo>
                  <a:pt x="266" y="327"/>
                  <a:pt x="303" y="290"/>
                  <a:pt x="303" y="290"/>
                </a:cubicBezTo>
                <a:cubicBezTo>
                  <a:pt x="303" y="290"/>
                  <a:pt x="288" y="232"/>
                  <a:pt x="305" y="221"/>
                </a:cubicBezTo>
                <a:cubicBezTo>
                  <a:pt x="322" y="210"/>
                  <a:pt x="344" y="212"/>
                  <a:pt x="325" y="197"/>
                </a:cubicBezTo>
                <a:cubicBezTo>
                  <a:pt x="307" y="182"/>
                  <a:pt x="292" y="156"/>
                  <a:pt x="292" y="156"/>
                </a:cubicBezTo>
                <a:cubicBezTo>
                  <a:pt x="292" y="156"/>
                  <a:pt x="281" y="149"/>
                  <a:pt x="281" y="143"/>
                </a:cubicBezTo>
                <a:cubicBezTo>
                  <a:pt x="281" y="137"/>
                  <a:pt x="296" y="30"/>
                  <a:pt x="296" y="30"/>
                </a:cubicBezTo>
                <a:cubicBezTo>
                  <a:pt x="296" y="30"/>
                  <a:pt x="326" y="0"/>
                  <a:pt x="273" y="8"/>
                </a:cubicBezTo>
                <a:cubicBezTo>
                  <a:pt x="270" y="10"/>
                  <a:pt x="268" y="12"/>
                  <a:pt x="268" y="12"/>
                </a:cubicBezTo>
                <a:cubicBezTo>
                  <a:pt x="268" y="12"/>
                  <a:pt x="280" y="20"/>
                  <a:pt x="291" y="28"/>
                </a:cubicBezTo>
                <a:cubicBezTo>
                  <a:pt x="292" y="43"/>
                  <a:pt x="292" y="43"/>
                  <a:pt x="292" y="43"/>
                </a:cubicBezTo>
                <a:cubicBezTo>
                  <a:pt x="231" y="22"/>
                  <a:pt x="231" y="22"/>
                  <a:pt x="231" y="22"/>
                </a:cubicBezTo>
                <a:cubicBezTo>
                  <a:pt x="231" y="22"/>
                  <a:pt x="242" y="69"/>
                  <a:pt x="247" y="76"/>
                </a:cubicBezTo>
                <a:cubicBezTo>
                  <a:pt x="253" y="84"/>
                  <a:pt x="229" y="87"/>
                  <a:pt x="223" y="87"/>
                </a:cubicBezTo>
                <a:cubicBezTo>
                  <a:pt x="218" y="87"/>
                  <a:pt x="223" y="100"/>
                  <a:pt x="223" y="117"/>
                </a:cubicBezTo>
                <a:cubicBezTo>
                  <a:pt x="223" y="134"/>
                  <a:pt x="180" y="156"/>
                  <a:pt x="165" y="171"/>
                </a:cubicBezTo>
                <a:cubicBezTo>
                  <a:pt x="151" y="186"/>
                  <a:pt x="203" y="227"/>
                  <a:pt x="203" y="227"/>
                </a:cubicBezTo>
                <a:cubicBezTo>
                  <a:pt x="203" y="227"/>
                  <a:pt x="180" y="249"/>
                  <a:pt x="145" y="249"/>
                </a:cubicBezTo>
                <a:cubicBezTo>
                  <a:pt x="110" y="249"/>
                  <a:pt x="119" y="244"/>
                  <a:pt x="91" y="242"/>
                </a:cubicBezTo>
                <a:cubicBezTo>
                  <a:pt x="63" y="240"/>
                  <a:pt x="87" y="305"/>
                  <a:pt x="87" y="337"/>
                </a:cubicBezTo>
                <a:cubicBezTo>
                  <a:pt x="87" y="368"/>
                  <a:pt x="54" y="378"/>
                  <a:pt x="22" y="409"/>
                </a:cubicBezTo>
                <a:cubicBezTo>
                  <a:pt x="0" y="431"/>
                  <a:pt x="4" y="468"/>
                  <a:pt x="9" y="490"/>
                </a:cubicBezTo>
                <a:cubicBezTo>
                  <a:pt x="20" y="489"/>
                  <a:pt x="34" y="489"/>
                  <a:pt x="39" y="491"/>
                </a:cubicBezTo>
                <a:cubicBezTo>
                  <a:pt x="48" y="495"/>
                  <a:pt x="65" y="487"/>
                  <a:pt x="76" y="487"/>
                </a:cubicBezTo>
                <a:cubicBezTo>
                  <a:pt x="87" y="487"/>
                  <a:pt x="108" y="482"/>
                  <a:pt x="108" y="482"/>
                </a:cubicBezTo>
                <a:cubicBezTo>
                  <a:pt x="119" y="512"/>
                  <a:pt x="119" y="512"/>
                  <a:pt x="119" y="512"/>
                </a:cubicBezTo>
                <a:cubicBezTo>
                  <a:pt x="119" y="556"/>
                  <a:pt x="119" y="556"/>
                  <a:pt x="119" y="556"/>
                </a:cubicBezTo>
                <a:cubicBezTo>
                  <a:pt x="158" y="556"/>
                  <a:pt x="158" y="556"/>
                  <a:pt x="158" y="556"/>
                </a:cubicBezTo>
                <a:cubicBezTo>
                  <a:pt x="158" y="556"/>
                  <a:pt x="130" y="575"/>
                  <a:pt x="130" y="582"/>
                </a:cubicBezTo>
                <a:cubicBezTo>
                  <a:pt x="130" y="587"/>
                  <a:pt x="129" y="607"/>
                  <a:pt x="129" y="622"/>
                </a:cubicBezTo>
                <a:cubicBezTo>
                  <a:pt x="203" y="622"/>
                  <a:pt x="203" y="622"/>
                  <a:pt x="203" y="622"/>
                </a:cubicBezTo>
                <a:cubicBezTo>
                  <a:pt x="204" y="616"/>
                  <a:pt x="204" y="616"/>
                  <a:pt x="204" y="616"/>
                </a:cubicBezTo>
                <a:lnTo>
                  <a:pt x="201" y="605"/>
                </a:ln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35" name="Freeform 214"/>
          <p:cNvSpPr>
            <a:spLocks noEditPoints="1"/>
          </p:cNvSpPr>
          <p:nvPr/>
        </p:nvSpPr>
        <p:spPr bwMode="auto">
          <a:xfrm>
            <a:off x="8118475" y="4413250"/>
            <a:ext cx="728663" cy="1601788"/>
          </a:xfrm>
          <a:custGeom>
            <a:avLst/>
            <a:gdLst>
              <a:gd name="T0" fmla="*/ 107 w 631"/>
              <a:gd name="T1" fmla="*/ 193 h 1387"/>
              <a:gd name="T2" fmla="*/ 138 w 631"/>
              <a:gd name="T3" fmla="*/ 260 h 1387"/>
              <a:gd name="T4" fmla="*/ 90 w 631"/>
              <a:gd name="T5" fmla="*/ 320 h 1387"/>
              <a:gd name="T6" fmla="*/ 101 w 631"/>
              <a:gd name="T7" fmla="*/ 387 h 1387"/>
              <a:gd name="T8" fmla="*/ 159 w 631"/>
              <a:gd name="T9" fmla="*/ 417 h 1387"/>
              <a:gd name="T10" fmla="*/ 207 w 631"/>
              <a:gd name="T11" fmla="*/ 420 h 1387"/>
              <a:gd name="T12" fmla="*/ 185 w 631"/>
              <a:gd name="T13" fmla="*/ 391 h 1387"/>
              <a:gd name="T14" fmla="*/ 185 w 631"/>
              <a:gd name="T15" fmla="*/ 355 h 1387"/>
              <a:gd name="T16" fmla="*/ 330 w 631"/>
              <a:gd name="T17" fmla="*/ 268 h 1387"/>
              <a:gd name="T18" fmla="*/ 311 w 631"/>
              <a:gd name="T19" fmla="*/ 143 h 1387"/>
              <a:gd name="T20" fmla="*/ 363 w 631"/>
              <a:gd name="T21" fmla="*/ 65 h 1387"/>
              <a:gd name="T22" fmla="*/ 302 w 631"/>
              <a:gd name="T23" fmla="*/ 52 h 1387"/>
              <a:gd name="T24" fmla="*/ 274 w 631"/>
              <a:gd name="T25" fmla="*/ 65 h 1387"/>
              <a:gd name="T26" fmla="*/ 188 w 631"/>
              <a:gd name="T27" fmla="*/ 89 h 1387"/>
              <a:gd name="T28" fmla="*/ 25 w 631"/>
              <a:gd name="T29" fmla="*/ 112 h 1387"/>
              <a:gd name="T30" fmla="*/ 86 w 631"/>
              <a:gd name="T31" fmla="*/ 175 h 1387"/>
              <a:gd name="T32" fmla="*/ 611 w 631"/>
              <a:gd name="T33" fmla="*/ 857 h 1387"/>
              <a:gd name="T34" fmla="*/ 531 w 631"/>
              <a:gd name="T35" fmla="*/ 757 h 1387"/>
              <a:gd name="T36" fmla="*/ 451 w 631"/>
              <a:gd name="T37" fmla="*/ 642 h 1387"/>
              <a:gd name="T38" fmla="*/ 458 w 631"/>
              <a:gd name="T39" fmla="*/ 608 h 1387"/>
              <a:gd name="T40" fmla="*/ 378 w 631"/>
              <a:gd name="T41" fmla="*/ 473 h 1387"/>
              <a:gd name="T42" fmla="*/ 315 w 631"/>
              <a:gd name="T43" fmla="*/ 456 h 1387"/>
              <a:gd name="T44" fmla="*/ 246 w 631"/>
              <a:gd name="T45" fmla="*/ 422 h 1387"/>
              <a:gd name="T46" fmla="*/ 267 w 631"/>
              <a:gd name="T47" fmla="*/ 428 h 1387"/>
              <a:gd name="T48" fmla="*/ 270 w 631"/>
              <a:gd name="T49" fmla="*/ 463 h 1387"/>
              <a:gd name="T50" fmla="*/ 227 w 631"/>
              <a:gd name="T51" fmla="*/ 458 h 1387"/>
              <a:gd name="T52" fmla="*/ 237 w 631"/>
              <a:gd name="T53" fmla="*/ 527 h 1387"/>
              <a:gd name="T54" fmla="*/ 270 w 631"/>
              <a:gd name="T55" fmla="*/ 595 h 1387"/>
              <a:gd name="T56" fmla="*/ 345 w 631"/>
              <a:gd name="T57" fmla="*/ 672 h 1387"/>
              <a:gd name="T58" fmla="*/ 365 w 631"/>
              <a:gd name="T59" fmla="*/ 748 h 1387"/>
              <a:gd name="T60" fmla="*/ 361 w 631"/>
              <a:gd name="T61" fmla="*/ 863 h 1387"/>
              <a:gd name="T62" fmla="*/ 306 w 631"/>
              <a:gd name="T63" fmla="*/ 969 h 1387"/>
              <a:gd name="T64" fmla="*/ 280 w 631"/>
              <a:gd name="T65" fmla="*/ 953 h 1387"/>
              <a:gd name="T66" fmla="*/ 281 w 631"/>
              <a:gd name="T67" fmla="*/ 902 h 1387"/>
              <a:gd name="T68" fmla="*/ 285 w 631"/>
              <a:gd name="T69" fmla="*/ 979 h 1387"/>
              <a:gd name="T70" fmla="*/ 309 w 631"/>
              <a:gd name="T71" fmla="*/ 1096 h 1387"/>
              <a:gd name="T72" fmla="*/ 265 w 631"/>
              <a:gd name="T73" fmla="*/ 1148 h 1387"/>
              <a:gd name="T74" fmla="*/ 226 w 631"/>
              <a:gd name="T75" fmla="*/ 1176 h 1387"/>
              <a:gd name="T76" fmla="*/ 110 w 631"/>
              <a:gd name="T77" fmla="*/ 1275 h 1387"/>
              <a:gd name="T78" fmla="*/ 80 w 631"/>
              <a:gd name="T79" fmla="*/ 1387 h 1387"/>
              <a:gd name="T80" fmla="*/ 185 w 631"/>
              <a:gd name="T81" fmla="*/ 1368 h 1387"/>
              <a:gd name="T82" fmla="*/ 240 w 631"/>
              <a:gd name="T83" fmla="*/ 1304 h 1387"/>
              <a:gd name="T84" fmla="*/ 306 w 631"/>
              <a:gd name="T85" fmla="*/ 1241 h 1387"/>
              <a:gd name="T86" fmla="*/ 330 w 631"/>
              <a:gd name="T87" fmla="*/ 1267 h 1387"/>
              <a:gd name="T88" fmla="*/ 380 w 631"/>
              <a:gd name="T89" fmla="*/ 1304 h 1387"/>
              <a:gd name="T90" fmla="*/ 425 w 631"/>
              <a:gd name="T91" fmla="*/ 1221 h 1387"/>
              <a:gd name="T92" fmla="*/ 404 w 631"/>
              <a:gd name="T93" fmla="*/ 1167 h 1387"/>
              <a:gd name="T94" fmla="*/ 399 w 631"/>
              <a:gd name="T95" fmla="*/ 1118 h 1387"/>
              <a:gd name="T96" fmla="*/ 449 w 631"/>
              <a:gd name="T97" fmla="*/ 1113 h 1387"/>
              <a:gd name="T98" fmla="*/ 520 w 631"/>
              <a:gd name="T99" fmla="*/ 1083 h 1387"/>
              <a:gd name="T100" fmla="*/ 533 w 631"/>
              <a:gd name="T101" fmla="*/ 1027 h 1387"/>
              <a:gd name="T102" fmla="*/ 572 w 631"/>
              <a:gd name="T103" fmla="*/ 1018 h 1387"/>
              <a:gd name="T104" fmla="*/ 562 w 631"/>
              <a:gd name="T105" fmla="*/ 951 h 1387"/>
              <a:gd name="T106" fmla="*/ 585 w 631"/>
              <a:gd name="T107" fmla="*/ 951 h 1387"/>
              <a:gd name="T108" fmla="*/ 609 w 631"/>
              <a:gd name="T109" fmla="*/ 951 h 1387"/>
              <a:gd name="T110" fmla="*/ 304 w 631"/>
              <a:gd name="T111" fmla="*/ 1303 h 1387"/>
              <a:gd name="T112" fmla="*/ 242 w 631"/>
              <a:gd name="T113" fmla="*/ 1347 h 1387"/>
              <a:gd name="T114" fmla="*/ 228 w 631"/>
              <a:gd name="T115" fmla="*/ 1387 h 1387"/>
              <a:gd name="T116" fmla="*/ 332 w 631"/>
              <a:gd name="T117" fmla="*/ 1366 h 1387"/>
              <a:gd name="T118" fmla="*/ 304 w 631"/>
              <a:gd name="T119" fmla="*/ 1303 h 1387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631"/>
              <a:gd name="T181" fmla="*/ 0 h 1387"/>
              <a:gd name="T182" fmla="*/ 631 w 631"/>
              <a:gd name="T183" fmla="*/ 1387 h 1387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631" h="1387">
                <a:moveTo>
                  <a:pt x="86" y="175"/>
                </a:moveTo>
                <a:cubicBezTo>
                  <a:pt x="107" y="193"/>
                  <a:pt x="107" y="193"/>
                  <a:pt x="107" y="193"/>
                </a:cubicBezTo>
                <a:cubicBezTo>
                  <a:pt x="108" y="240"/>
                  <a:pt x="108" y="240"/>
                  <a:pt x="108" y="240"/>
                </a:cubicBezTo>
                <a:cubicBezTo>
                  <a:pt x="108" y="240"/>
                  <a:pt x="138" y="234"/>
                  <a:pt x="138" y="260"/>
                </a:cubicBezTo>
                <a:cubicBezTo>
                  <a:pt x="138" y="286"/>
                  <a:pt x="92" y="301"/>
                  <a:pt x="92" y="301"/>
                </a:cubicBezTo>
                <a:cubicBezTo>
                  <a:pt x="90" y="320"/>
                  <a:pt x="90" y="320"/>
                  <a:pt x="90" y="320"/>
                </a:cubicBezTo>
                <a:cubicBezTo>
                  <a:pt x="90" y="320"/>
                  <a:pt x="116" y="307"/>
                  <a:pt x="116" y="326"/>
                </a:cubicBezTo>
                <a:cubicBezTo>
                  <a:pt x="116" y="344"/>
                  <a:pt x="101" y="387"/>
                  <a:pt x="101" y="387"/>
                </a:cubicBezTo>
                <a:cubicBezTo>
                  <a:pt x="140" y="430"/>
                  <a:pt x="140" y="430"/>
                  <a:pt x="140" y="430"/>
                </a:cubicBezTo>
                <a:cubicBezTo>
                  <a:pt x="140" y="430"/>
                  <a:pt x="144" y="393"/>
                  <a:pt x="159" y="417"/>
                </a:cubicBezTo>
                <a:cubicBezTo>
                  <a:pt x="174" y="441"/>
                  <a:pt x="181" y="476"/>
                  <a:pt x="196" y="467"/>
                </a:cubicBezTo>
                <a:cubicBezTo>
                  <a:pt x="211" y="458"/>
                  <a:pt x="203" y="428"/>
                  <a:pt x="207" y="420"/>
                </a:cubicBezTo>
                <a:cubicBezTo>
                  <a:pt x="211" y="413"/>
                  <a:pt x="227" y="393"/>
                  <a:pt x="227" y="393"/>
                </a:cubicBezTo>
                <a:cubicBezTo>
                  <a:pt x="185" y="391"/>
                  <a:pt x="185" y="391"/>
                  <a:pt x="185" y="391"/>
                </a:cubicBezTo>
                <a:cubicBezTo>
                  <a:pt x="185" y="391"/>
                  <a:pt x="129" y="396"/>
                  <a:pt x="138" y="378"/>
                </a:cubicBezTo>
                <a:cubicBezTo>
                  <a:pt x="147" y="359"/>
                  <a:pt x="179" y="352"/>
                  <a:pt x="185" y="355"/>
                </a:cubicBezTo>
                <a:cubicBezTo>
                  <a:pt x="190" y="359"/>
                  <a:pt x="194" y="311"/>
                  <a:pt x="213" y="301"/>
                </a:cubicBezTo>
                <a:cubicBezTo>
                  <a:pt x="231" y="292"/>
                  <a:pt x="330" y="268"/>
                  <a:pt x="330" y="268"/>
                </a:cubicBezTo>
                <a:cubicBezTo>
                  <a:pt x="330" y="268"/>
                  <a:pt x="306" y="253"/>
                  <a:pt x="306" y="219"/>
                </a:cubicBezTo>
                <a:cubicBezTo>
                  <a:pt x="306" y="186"/>
                  <a:pt x="294" y="149"/>
                  <a:pt x="311" y="143"/>
                </a:cubicBezTo>
                <a:cubicBezTo>
                  <a:pt x="328" y="138"/>
                  <a:pt x="343" y="126"/>
                  <a:pt x="343" y="119"/>
                </a:cubicBezTo>
                <a:cubicBezTo>
                  <a:pt x="343" y="112"/>
                  <a:pt x="363" y="65"/>
                  <a:pt x="363" y="65"/>
                </a:cubicBezTo>
                <a:cubicBezTo>
                  <a:pt x="363" y="65"/>
                  <a:pt x="328" y="74"/>
                  <a:pt x="326" y="65"/>
                </a:cubicBezTo>
                <a:cubicBezTo>
                  <a:pt x="324" y="56"/>
                  <a:pt x="302" y="65"/>
                  <a:pt x="302" y="52"/>
                </a:cubicBezTo>
                <a:cubicBezTo>
                  <a:pt x="302" y="39"/>
                  <a:pt x="278" y="0"/>
                  <a:pt x="278" y="0"/>
                </a:cubicBezTo>
                <a:cubicBezTo>
                  <a:pt x="278" y="0"/>
                  <a:pt x="291" y="63"/>
                  <a:pt x="274" y="65"/>
                </a:cubicBezTo>
                <a:cubicBezTo>
                  <a:pt x="257" y="67"/>
                  <a:pt x="229" y="71"/>
                  <a:pt x="229" y="71"/>
                </a:cubicBezTo>
                <a:cubicBezTo>
                  <a:pt x="229" y="71"/>
                  <a:pt x="209" y="87"/>
                  <a:pt x="188" y="89"/>
                </a:cubicBezTo>
                <a:cubicBezTo>
                  <a:pt x="168" y="91"/>
                  <a:pt x="36" y="84"/>
                  <a:pt x="36" y="84"/>
                </a:cubicBezTo>
                <a:cubicBezTo>
                  <a:pt x="36" y="84"/>
                  <a:pt x="0" y="97"/>
                  <a:pt x="25" y="112"/>
                </a:cubicBezTo>
                <a:cubicBezTo>
                  <a:pt x="49" y="126"/>
                  <a:pt x="84" y="147"/>
                  <a:pt x="84" y="147"/>
                </a:cubicBezTo>
                <a:lnTo>
                  <a:pt x="86" y="175"/>
                </a:lnTo>
                <a:close/>
                <a:moveTo>
                  <a:pt x="618" y="908"/>
                </a:moveTo>
                <a:cubicBezTo>
                  <a:pt x="607" y="897"/>
                  <a:pt x="610" y="867"/>
                  <a:pt x="611" y="857"/>
                </a:cubicBezTo>
                <a:cubicBezTo>
                  <a:pt x="606" y="857"/>
                  <a:pt x="595" y="854"/>
                  <a:pt x="568" y="845"/>
                </a:cubicBezTo>
                <a:cubicBezTo>
                  <a:pt x="508" y="824"/>
                  <a:pt x="531" y="791"/>
                  <a:pt x="531" y="757"/>
                </a:cubicBezTo>
                <a:cubicBezTo>
                  <a:pt x="531" y="724"/>
                  <a:pt x="514" y="705"/>
                  <a:pt x="494" y="696"/>
                </a:cubicBezTo>
                <a:cubicBezTo>
                  <a:pt x="473" y="687"/>
                  <a:pt x="456" y="668"/>
                  <a:pt x="451" y="642"/>
                </a:cubicBezTo>
                <a:cubicBezTo>
                  <a:pt x="445" y="616"/>
                  <a:pt x="481" y="625"/>
                  <a:pt x="481" y="625"/>
                </a:cubicBezTo>
                <a:cubicBezTo>
                  <a:pt x="458" y="608"/>
                  <a:pt x="458" y="608"/>
                  <a:pt x="458" y="608"/>
                </a:cubicBezTo>
                <a:cubicBezTo>
                  <a:pt x="458" y="608"/>
                  <a:pt x="432" y="534"/>
                  <a:pt x="423" y="501"/>
                </a:cubicBezTo>
                <a:cubicBezTo>
                  <a:pt x="414" y="467"/>
                  <a:pt x="378" y="473"/>
                  <a:pt x="378" y="473"/>
                </a:cubicBezTo>
                <a:cubicBezTo>
                  <a:pt x="378" y="473"/>
                  <a:pt x="378" y="473"/>
                  <a:pt x="369" y="461"/>
                </a:cubicBezTo>
                <a:cubicBezTo>
                  <a:pt x="360" y="450"/>
                  <a:pt x="315" y="456"/>
                  <a:pt x="315" y="456"/>
                </a:cubicBezTo>
                <a:cubicBezTo>
                  <a:pt x="276" y="396"/>
                  <a:pt x="276" y="396"/>
                  <a:pt x="276" y="396"/>
                </a:cubicBezTo>
                <a:cubicBezTo>
                  <a:pt x="246" y="422"/>
                  <a:pt x="246" y="422"/>
                  <a:pt x="246" y="422"/>
                </a:cubicBezTo>
                <a:cubicBezTo>
                  <a:pt x="250" y="445"/>
                  <a:pt x="250" y="445"/>
                  <a:pt x="250" y="445"/>
                </a:cubicBezTo>
                <a:cubicBezTo>
                  <a:pt x="250" y="445"/>
                  <a:pt x="267" y="435"/>
                  <a:pt x="267" y="428"/>
                </a:cubicBezTo>
                <a:cubicBezTo>
                  <a:pt x="267" y="420"/>
                  <a:pt x="287" y="443"/>
                  <a:pt x="289" y="454"/>
                </a:cubicBezTo>
                <a:cubicBezTo>
                  <a:pt x="291" y="465"/>
                  <a:pt x="270" y="463"/>
                  <a:pt x="270" y="463"/>
                </a:cubicBezTo>
                <a:cubicBezTo>
                  <a:pt x="270" y="474"/>
                  <a:pt x="270" y="474"/>
                  <a:pt x="270" y="474"/>
                </a:cubicBezTo>
                <a:cubicBezTo>
                  <a:pt x="270" y="474"/>
                  <a:pt x="244" y="456"/>
                  <a:pt x="227" y="458"/>
                </a:cubicBezTo>
                <a:cubicBezTo>
                  <a:pt x="211" y="460"/>
                  <a:pt x="235" y="491"/>
                  <a:pt x="235" y="491"/>
                </a:cubicBezTo>
                <a:cubicBezTo>
                  <a:pt x="237" y="527"/>
                  <a:pt x="237" y="527"/>
                  <a:pt x="237" y="527"/>
                </a:cubicBezTo>
                <a:cubicBezTo>
                  <a:pt x="237" y="527"/>
                  <a:pt x="257" y="553"/>
                  <a:pt x="270" y="560"/>
                </a:cubicBezTo>
                <a:cubicBezTo>
                  <a:pt x="283" y="568"/>
                  <a:pt x="270" y="595"/>
                  <a:pt x="270" y="595"/>
                </a:cubicBezTo>
                <a:cubicBezTo>
                  <a:pt x="270" y="595"/>
                  <a:pt x="276" y="584"/>
                  <a:pt x="293" y="584"/>
                </a:cubicBezTo>
                <a:cubicBezTo>
                  <a:pt x="309" y="584"/>
                  <a:pt x="326" y="636"/>
                  <a:pt x="345" y="672"/>
                </a:cubicBezTo>
                <a:cubicBezTo>
                  <a:pt x="363" y="707"/>
                  <a:pt x="341" y="716"/>
                  <a:pt x="341" y="716"/>
                </a:cubicBezTo>
                <a:cubicBezTo>
                  <a:pt x="341" y="716"/>
                  <a:pt x="354" y="735"/>
                  <a:pt x="365" y="748"/>
                </a:cubicBezTo>
                <a:cubicBezTo>
                  <a:pt x="376" y="761"/>
                  <a:pt x="360" y="770"/>
                  <a:pt x="356" y="780"/>
                </a:cubicBezTo>
                <a:cubicBezTo>
                  <a:pt x="352" y="789"/>
                  <a:pt x="361" y="839"/>
                  <a:pt x="361" y="863"/>
                </a:cubicBezTo>
                <a:cubicBezTo>
                  <a:pt x="361" y="888"/>
                  <a:pt x="322" y="930"/>
                  <a:pt x="322" y="930"/>
                </a:cubicBezTo>
                <a:cubicBezTo>
                  <a:pt x="322" y="930"/>
                  <a:pt x="319" y="968"/>
                  <a:pt x="306" y="969"/>
                </a:cubicBezTo>
                <a:cubicBezTo>
                  <a:pt x="293" y="971"/>
                  <a:pt x="294" y="955"/>
                  <a:pt x="294" y="955"/>
                </a:cubicBezTo>
                <a:cubicBezTo>
                  <a:pt x="280" y="953"/>
                  <a:pt x="280" y="953"/>
                  <a:pt x="280" y="953"/>
                </a:cubicBezTo>
                <a:cubicBezTo>
                  <a:pt x="287" y="919"/>
                  <a:pt x="287" y="919"/>
                  <a:pt x="287" y="919"/>
                </a:cubicBezTo>
                <a:cubicBezTo>
                  <a:pt x="281" y="902"/>
                  <a:pt x="281" y="902"/>
                  <a:pt x="281" y="902"/>
                </a:cubicBezTo>
                <a:cubicBezTo>
                  <a:pt x="254" y="942"/>
                  <a:pt x="254" y="942"/>
                  <a:pt x="254" y="942"/>
                </a:cubicBezTo>
                <a:cubicBezTo>
                  <a:pt x="254" y="942"/>
                  <a:pt x="272" y="962"/>
                  <a:pt x="285" y="979"/>
                </a:cubicBezTo>
                <a:cubicBezTo>
                  <a:pt x="298" y="996"/>
                  <a:pt x="285" y="1061"/>
                  <a:pt x="285" y="1072"/>
                </a:cubicBezTo>
                <a:cubicBezTo>
                  <a:pt x="285" y="1083"/>
                  <a:pt x="309" y="1096"/>
                  <a:pt x="309" y="1096"/>
                </a:cubicBezTo>
                <a:cubicBezTo>
                  <a:pt x="309" y="1096"/>
                  <a:pt x="309" y="1115"/>
                  <a:pt x="302" y="1135"/>
                </a:cubicBezTo>
                <a:cubicBezTo>
                  <a:pt x="294" y="1156"/>
                  <a:pt x="265" y="1148"/>
                  <a:pt x="265" y="1148"/>
                </a:cubicBezTo>
                <a:cubicBezTo>
                  <a:pt x="254" y="1141"/>
                  <a:pt x="254" y="1141"/>
                  <a:pt x="254" y="1141"/>
                </a:cubicBezTo>
                <a:cubicBezTo>
                  <a:pt x="254" y="1141"/>
                  <a:pt x="231" y="1172"/>
                  <a:pt x="226" y="1176"/>
                </a:cubicBezTo>
                <a:cubicBezTo>
                  <a:pt x="220" y="1180"/>
                  <a:pt x="185" y="1217"/>
                  <a:pt x="155" y="1243"/>
                </a:cubicBezTo>
                <a:cubicBezTo>
                  <a:pt x="125" y="1269"/>
                  <a:pt x="121" y="1262"/>
                  <a:pt x="110" y="1275"/>
                </a:cubicBezTo>
                <a:cubicBezTo>
                  <a:pt x="99" y="1288"/>
                  <a:pt x="105" y="1325"/>
                  <a:pt x="97" y="1358"/>
                </a:cubicBezTo>
                <a:cubicBezTo>
                  <a:pt x="94" y="1372"/>
                  <a:pt x="87" y="1381"/>
                  <a:pt x="80" y="1387"/>
                </a:cubicBezTo>
                <a:cubicBezTo>
                  <a:pt x="174" y="1387"/>
                  <a:pt x="174" y="1387"/>
                  <a:pt x="174" y="1387"/>
                </a:cubicBezTo>
                <a:cubicBezTo>
                  <a:pt x="177" y="1381"/>
                  <a:pt x="180" y="1374"/>
                  <a:pt x="185" y="1368"/>
                </a:cubicBezTo>
                <a:cubicBezTo>
                  <a:pt x="200" y="1347"/>
                  <a:pt x="209" y="1338"/>
                  <a:pt x="211" y="1329"/>
                </a:cubicBezTo>
                <a:cubicBezTo>
                  <a:pt x="213" y="1319"/>
                  <a:pt x="240" y="1304"/>
                  <a:pt x="240" y="1304"/>
                </a:cubicBezTo>
                <a:cubicBezTo>
                  <a:pt x="240" y="1304"/>
                  <a:pt x="242" y="1271"/>
                  <a:pt x="267" y="1249"/>
                </a:cubicBezTo>
                <a:cubicBezTo>
                  <a:pt x="291" y="1226"/>
                  <a:pt x="306" y="1241"/>
                  <a:pt x="306" y="1241"/>
                </a:cubicBezTo>
                <a:cubicBezTo>
                  <a:pt x="306" y="1241"/>
                  <a:pt x="306" y="1228"/>
                  <a:pt x="337" y="1223"/>
                </a:cubicBezTo>
                <a:cubicBezTo>
                  <a:pt x="369" y="1217"/>
                  <a:pt x="330" y="1267"/>
                  <a:pt x="330" y="1267"/>
                </a:cubicBezTo>
                <a:cubicBezTo>
                  <a:pt x="348" y="1299"/>
                  <a:pt x="348" y="1299"/>
                  <a:pt x="348" y="1299"/>
                </a:cubicBezTo>
                <a:cubicBezTo>
                  <a:pt x="380" y="1304"/>
                  <a:pt x="380" y="1304"/>
                  <a:pt x="380" y="1304"/>
                </a:cubicBezTo>
                <a:cubicBezTo>
                  <a:pt x="380" y="1304"/>
                  <a:pt x="415" y="1312"/>
                  <a:pt x="430" y="1303"/>
                </a:cubicBezTo>
                <a:cubicBezTo>
                  <a:pt x="445" y="1293"/>
                  <a:pt x="428" y="1247"/>
                  <a:pt x="425" y="1221"/>
                </a:cubicBezTo>
                <a:cubicBezTo>
                  <a:pt x="421" y="1195"/>
                  <a:pt x="453" y="1167"/>
                  <a:pt x="453" y="1167"/>
                </a:cubicBezTo>
                <a:cubicBezTo>
                  <a:pt x="404" y="1167"/>
                  <a:pt x="404" y="1167"/>
                  <a:pt x="404" y="1167"/>
                </a:cubicBezTo>
                <a:cubicBezTo>
                  <a:pt x="397" y="1128"/>
                  <a:pt x="397" y="1128"/>
                  <a:pt x="397" y="1128"/>
                </a:cubicBezTo>
                <a:cubicBezTo>
                  <a:pt x="399" y="1118"/>
                  <a:pt x="399" y="1118"/>
                  <a:pt x="399" y="1118"/>
                </a:cubicBezTo>
                <a:cubicBezTo>
                  <a:pt x="417" y="1131"/>
                  <a:pt x="417" y="1131"/>
                  <a:pt x="417" y="1131"/>
                </a:cubicBezTo>
                <a:cubicBezTo>
                  <a:pt x="449" y="1113"/>
                  <a:pt x="449" y="1113"/>
                  <a:pt x="449" y="1113"/>
                </a:cubicBezTo>
                <a:cubicBezTo>
                  <a:pt x="455" y="1131"/>
                  <a:pt x="455" y="1131"/>
                  <a:pt x="455" y="1131"/>
                </a:cubicBezTo>
                <a:cubicBezTo>
                  <a:pt x="520" y="1083"/>
                  <a:pt x="520" y="1083"/>
                  <a:pt x="520" y="1083"/>
                </a:cubicBezTo>
                <a:cubicBezTo>
                  <a:pt x="520" y="1083"/>
                  <a:pt x="512" y="1023"/>
                  <a:pt x="523" y="1010"/>
                </a:cubicBezTo>
                <a:cubicBezTo>
                  <a:pt x="535" y="997"/>
                  <a:pt x="533" y="1027"/>
                  <a:pt x="533" y="1027"/>
                </a:cubicBezTo>
                <a:cubicBezTo>
                  <a:pt x="568" y="1046"/>
                  <a:pt x="568" y="1046"/>
                  <a:pt x="568" y="1046"/>
                </a:cubicBezTo>
                <a:cubicBezTo>
                  <a:pt x="572" y="1018"/>
                  <a:pt x="572" y="1018"/>
                  <a:pt x="572" y="1018"/>
                </a:cubicBezTo>
                <a:cubicBezTo>
                  <a:pt x="572" y="1018"/>
                  <a:pt x="561" y="1007"/>
                  <a:pt x="548" y="984"/>
                </a:cubicBezTo>
                <a:cubicBezTo>
                  <a:pt x="535" y="962"/>
                  <a:pt x="562" y="951"/>
                  <a:pt x="562" y="951"/>
                </a:cubicBezTo>
                <a:cubicBezTo>
                  <a:pt x="562" y="951"/>
                  <a:pt x="559" y="901"/>
                  <a:pt x="574" y="899"/>
                </a:cubicBezTo>
                <a:cubicBezTo>
                  <a:pt x="589" y="897"/>
                  <a:pt x="579" y="943"/>
                  <a:pt x="585" y="951"/>
                </a:cubicBezTo>
                <a:cubicBezTo>
                  <a:pt x="590" y="958"/>
                  <a:pt x="609" y="971"/>
                  <a:pt x="609" y="971"/>
                </a:cubicBezTo>
                <a:cubicBezTo>
                  <a:pt x="609" y="971"/>
                  <a:pt x="609" y="971"/>
                  <a:pt x="609" y="951"/>
                </a:cubicBezTo>
                <a:cubicBezTo>
                  <a:pt x="609" y="930"/>
                  <a:pt x="631" y="921"/>
                  <a:pt x="618" y="908"/>
                </a:cubicBezTo>
                <a:close/>
                <a:moveTo>
                  <a:pt x="304" y="1303"/>
                </a:moveTo>
                <a:cubicBezTo>
                  <a:pt x="304" y="1303"/>
                  <a:pt x="268" y="1316"/>
                  <a:pt x="252" y="1318"/>
                </a:cubicBezTo>
                <a:cubicBezTo>
                  <a:pt x="235" y="1319"/>
                  <a:pt x="242" y="1338"/>
                  <a:pt x="242" y="1347"/>
                </a:cubicBezTo>
                <a:cubicBezTo>
                  <a:pt x="242" y="1357"/>
                  <a:pt x="250" y="1364"/>
                  <a:pt x="250" y="1364"/>
                </a:cubicBezTo>
                <a:cubicBezTo>
                  <a:pt x="250" y="1364"/>
                  <a:pt x="238" y="1376"/>
                  <a:pt x="228" y="1387"/>
                </a:cubicBezTo>
                <a:cubicBezTo>
                  <a:pt x="330" y="1387"/>
                  <a:pt x="330" y="1387"/>
                  <a:pt x="330" y="1387"/>
                </a:cubicBezTo>
                <a:cubicBezTo>
                  <a:pt x="330" y="1380"/>
                  <a:pt x="331" y="1372"/>
                  <a:pt x="332" y="1366"/>
                </a:cubicBezTo>
                <a:cubicBezTo>
                  <a:pt x="335" y="1345"/>
                  <a:pt x="332" y="1314"/>
                  <a:pt x="332" y="1314"/>
                </a:cubicBezTo>
                <a:lnTo>
                  <a:pt x="304" y="1303"/>
                </a:ln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36" name="Freeform 215"/>
          <p:cNvSpPr>
            <a:spLocks/>
          </p:cNvSpPr>
          <p:nvPr/>
        </p:nvSpPr>
        <p:spPr bwMode="auto">
          <a:xfrm>
            <a:off x="211138" y="2587625"/>
            <a:ext cx="584200" cy="779463"/>
          </a:xfrm>
          <a:custGeom>
            <a:avLst/>
            <a:gdLst>
              <a:gd name="T0" fmla="*/ 48 w 506"/>
              <a:gd name="T1" fmla="*/ 22 h 674"/>
              <a:gd name="T2" fmla="*/ 46 w 506"/>
              <a:gd name="T3" fmla="*/ 63 h 674"/>
              <a:gd name="T4" fmla="*/ 20 w 506"/>
              <a:gd name="T5" fmla="*/ 67 h 674"/>
              <a:gd name="T6" fmla="*/ 0 w 506"/>
              <a:gd name="T7" fmla="*/ 85 h 674"/>
              <a:gd name="T8" fmla="*/ 0 w 506"/>
              <a:gd name="T9" fmla="*/ 668 h 674"/>
              <a:gd name="T10" fmla="*/ 13 w 506"/>
              <a:gd name="T11" fmla="*/ 674 h 674"/>
              <a:gd name="T12" fmla="*/ 50 w 506"/>
              <a:gd name="T13" fmla="*/ 636 h 674"/>
              <a:gd name="T14" fmla="*/ 145 w 506"/>
              <a:gd name="T15" fmla="*/ 636 h 674"/>
              <a:gd name="T16" fmla="*/ 171 w 506"/>
              <a:gd name="T17" fmla="*/ 651 h 674"/>
              <a:gd name="T18" fmla="*/ 238 w 506"/>
              <a:gd name="T19" fmla="*/ 569 h 674"/>
              <a:gd name="T20" fmla="*/ 243 w 506"/>
              <a:gd name="T21" fmla="*/ 569 h 674"/>
              <a:gd name="T22" fmla="*/ 236 w 506"/>
              <a:gd name="T23" fmla="*/ 560 h 674"/>
              <a:gd name="T24" fmla="*/ 254 w 506"/>
              <a:gd name="T25" fmla="*/ 552 h 674"/>
              <a:gd name="T26" fmla="*/ 279 w 506"/>
              <a:gd name="T27" fmla="*/ 541 h 674"/>
              <a:gd name="T28" fmla="*/ 279 w 506"/>
              <a:gd name="T29" fmla="*/ 508 h 674"/>
              <a:gd name="T30" fmla="*/ 308 w 506"/>
              <a:gd name="T31" fmla="*/ 510 h 674"/>
              <a:gd name="T32" fmla="*/ 340 w 506"/>
              <a:gd name="T33" fmla="*/ 532 h 674"/>
              <a:gd name="T34" fmla="*/ 422 w 506"/>
              <a:gd name="T35" fmla="*/ 439 h 674"/>
              <a:gd name="T36" fmla="*/ 428 w 506"/>
              <a:gd name="T37" fmla="*/ 439 h 674"/>
              <a:gd name="T38" fmla="*/ 446 w 506"/>
              <a:gd name="T39" fmla="*/ 473 h 674"/>
              <a:gd name="T40" fmla="*/ 456 w 506"/>
              <a:gd name="T41" fmla="*/ 476 h 674"/>
              <a:gd name="T42" fmla="*/ 506 w 506"/>
              <a:gd name="T43" fmla="*/ 432 h 674"/>
              <a:gd name="T44" fmla="*/ 452 w 506"/>
              <a:gd name="T45" fmla="*/ 359 h 674"/>
              <a:gd name="T46" fmla="*/ 441 w 506"/>
              <a:gd name="T47" fmla="*/ 364 h 674"/>
              <a:gd name="T48" fmla="*/ 428 w 506"/>
              <a:gd name="T49" fmla="*/ 370 h 674"/>
              <a:gd name="T50" fmla="*/ 339 w 506"/>
              <a:gd name="T51" fmla="*/ 222 h 674"/>
              <a:gd name="T52" fmla="*/ 340 w 506"/>
              <a:gd name="T53" fmla="*/ 222 h 674"/>
              <a:gd name="T54" fmla="*/ 308 w 506"/>
              <a:gd name="T55" fmla="*/ 186 h 674"/>
              <a:gd name="T56" fmla="*/ 333 w 506"/>
              <a:gd name="T57" fmla="*/ 126 h 674"/>
              <a:gd name="T58" fmla="*/ 256 w 506"/>
              <a:gd name="T59" fmla="*/ 63 h 674"/>
              <a:gd name="T60" fmla="*/ 223 w 506"/>
              <a:gd name="T61" fmla="*/ 63 h 674"/>
              <a:gd name="T62" fmla="*/ 161 w 506"/>
              <a:gd name="T63" fmla="*/ 7 h 674"/>
              <a:gd name="T64" fmla="*/ 156 w 506"/>
              <a:gd name="T65" fmla="*/ 12 h 674"/>
              <a:gd name="T66" fmla="*/ 120 w 506"/>
              <a:gd name="T67" fmla="*/ 0 h 674"/>
              <a:gd name="T68" fmla="*/ 83 w 506"/>
              <a:gd name="T69" fmla="*/ 22 h 674"/>
              <a:gd name="T70" fmla="*/ 48 w 506"/>
              <a:gd name="T71" fmla="*/ 22 h 674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506"/>
              <a:gd name="T109" fmla="*/ 0 h 674"/>
              <a:gd name="T110" fmla="*/ 506 w 506"/>
              <a:gd name="T111" fmla="*/ 674 h 674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506" h="674">
                <a:moveTo>
                  <a:pt x="48" y="22"/>
                </a:moveTo>
                <a:cubicBezTo>
                  <a:pt x="46" y="63"/>
                  <a:pt x="46" y="63"/>
                  <a:pt x="46" y="63"/>
                </a:cubicBezTo>
                <a:cubicBezTo>
                  <a:pt x="20" y="67"/>
                  <a:pt x="20" y="67"/>
                  <a:pt x="20" y="67"/>
                </a:cubicBezTo>
                <a:cubicBezTo>
                  <a:pt x="0" y="85"/>
                  <a:pt x="0" y="85"/>
                  <a:pt x="0" y="85"/>
                </a:cubicBezTo>
                <a:cubicBezTo>
                  <a:pt x="0" y="668"/>
                  <a:pt x="0" y="668"/>
                  <a:pt x="0" y="668"/>
                </a:cubicBezTo>
                <a:cubicBezTo>
                  <a:pt x="13" y="674"/>
                  <a:pt x="13" y="674"/>
                  <a:pt x="13" y="674"/>
                </a:cubicBezTo>
                <a:cubicBezTo>
                  <a:pt x="50" y="636"/>
                  <a:pt x="50" y="636"/>
                  <a:pt x="50" y="636"/>
                </a:cubicBezTo>
                <a:cubicBezTo>
                  <a:pt x="145" y="636"/>
                  <a:pt x="145" y="636"/>
                  <a:pt x="145" y="636"/>
                </a:cubicBezTo>
                <a:cubicBezTo>
                  <a:pt x="145" y="636"/>
                  <a:pt x="163" y="651"/>
                  <a:pt x="171" y="651"/>
                </a:cubicBezTo>
                <a:cubicBezTo>
                  <a:pt x="178" y="651"/>
                  <a:pt x="238" y="569"/>
                  <a:pt x="238" y="569"/>
                </a:cubicBezTo>
                <a:cubicBezTo>
                  <a:pt x="243" y="569"/>
                  <a:pt x="243" y="569"/>
                  <a:pt x="243" y="569"/>
                </a:cubicBezTo>
                <a:cubicBezTo>
                  <a:pt x="236" y="560"/>
                  <a:pt x="236" y="560"/>
                  <a:pt x="236" y="560"/>
                </a:cubicBezTo>
                <a:cubicBezTo>
                  <a:pt x="254" y="552"/>
                  <a:pt x="254" y="552"/>
                  <a:pt x="254" y="552"/>
                </a:cubicBezTo>
                <a:cubicBezTo>
                  <a:pt x="279" y="541"/>
                  <a:pt x="279" y="541"/>
                  <a:pt x="279" y="541"/>
                </a:cubicBezTo>
                <a:cubicBezTo>
                  <a:pt x="279" y="541"/>
                  <a:pt x="266" y="506"/>
                  <a:pt x="279" y="508"/>
                </a:cubicBezTo>
                <a:cubicBezTo>
                  <a:pt x="292" y="510"/>
                  <a:pt x="308" y="510"/>
                  <a:pt x="308" y="510"/>
                </a:cubicBezTo>
                <a:cubicBezTo>
                  <a:pt x="340" y="532"/>
                  <a:pt x="340" y="532"/>
                  <a:pt x="340" y="532"/>
                </a:cubicBezTo>
                <a:cubicBezTo>
                  <a:pt x="340" y="532"/>
                  <a:pt x="366" y="439"/>
                  <a:pt x="422" y="439"/>
                </a:cubicBezTo>
                <a:cubicBezTo>
                  <a:pt x="424" y="439"/>
                  <a:pt x="426" y="439"/>
                  <a:pt x="428" y="439"/>
                </a:cubicBezTo>
                <a:cubicBezTo>
                  <a:pt x="446" y="473"/>
                  <a:pt x="446" y="473"/>
                  <a:pt x="446" y="473"/>
                </a:cubicBezTo>
                <a:cubicBezTo>
                  <a:pt x="446" y="473"/>
                  <a:pt x="450" y="474"/>
                  <a:pt x="456" y="476"/>
                </a:cubicBezTo>
                <a:cubicBezTo>
                  <a:pt x="506" y="432"/>
                  <a:pt x="506" y="432"/>
                  <a:pt x="506" y="432"/>
                </a:cubicBezTo>
                <a:cubicBezTo>
                  <a:pt x="452" y="359"/>
                  <a:pt x="452" y="359"/>
                  <a:pt x="452" y="359"/>
                </a:cubicBezTo>
                <a:cubicBezTo>
                  <a:pt x="441" y="364"/>
                  <a:pt x="441" y="364"/>
                  <a:pt x="441" y="364"/>
                </a:cubicBezTo>
                <a:cubicBezTo>
                  <a:pt x="428" y="370"/>
                  <a:pt x="428" y="370"/>
                  <a:pt x="428" y="370"/>
                </a:cubicBezTo>
                <a:cubicBezTo>
                  <a:pt x="339" y="222"/>
                  <a:pt x="339" y="222"/>
                  <a:pt x="339" y="222"/>
                </a:cubicBezTo>
                <a:cubicBezTo>
                  <a:pt x="339" y="222"/>
                  <a:pt x="339" y="222"/>
                  <a:pt x="340" y="222"/>
                </a:cubicBezTo>
                <a:cubicBezTo>
                  <a:pt x="325" y="208"/>
                  <a:pt x="312" y="193"/>
                  <a:pt x="308" y="186"/>
                </a:cubicBezTo>
                <a:cubicBezTo>
                  <a:pt x="301" y="169"/>
                  <a:pt x="333" y="126"/>
                  <a:pt x="333" y="126"/>
                </a:cubicBezTo>
                <a:cubicBezTo>
                  <a:pt x="256" y="63"/>
                  <a:pt x="256" y="63"/>
                  <a:pt x="256" y="63"/>
                </a:cubicBezTo>
                <a:cubicBezTo>
                  <a:pt x="223" y="63"/>
                  <a:pt x="223" y="63"/>
                  <a:pt x="223" y="63"/>
                </a:cubicBezTo>
                <a:cubicBezTo>
                  <a:pt x="161" y="7"/>
                  <a:pt x="161" y="7"/>
                  <a:pt x="161" y="7"/>
                </a:cubicBezTo>
                <a:cubicBezTo>
                  <a:pt x="158" y="9"/>
                  <a:pt x="156" y="11"/>
                  <a:pt x="156" y="12"/>
                </a:cubicBezTo>
                <a:cubicBezTo>
                  <a:pt x="156" y="14"/>
                  <a:pt x="137" y="13"/>
                  <a:pt x="120" y="0"/>
                </a:cubicBezTo>
                <a:cubicBezTo>
                  <a:pt x="101" y="9"/>
                  <a:pt x="83" y="22"/>
                  <a:pt x="83" y="22"/>
                </a:cubicBezTo>
                <a:lnTo>
                  <a:pt x="48" y="22"/>
                </a:ln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17437" name="Freeform 216"/>
          <p:cNvSpPr>
            <a:spLocks/>
          </p:cNvSpPr>
          <p:nvPr/>
        </p:nvSpPr>
        <p:spPr bwMode="auto">
          <a:xfrm>
            <a:off x="211138" y="2220913"/>
            <a:ext cx="166687" cy="465137"/>
          </a:xfrm>
          <a:custGeom>
            <a:avLst/>
            <a:gdLst>
              <a:gd name="T0" fmla="*/ 20 w 145"/>
              <a:gd name="T1" fmla="*/ 385 h 403"/>
              <a:gd name="T2" fmla="*/ 46 w 145"/>
              <a:gd name="T3" fmla="*/ 381 h 403"/>
              <a:gd name="T4" fmla="*/ 48 w 145"/>
              <a:gd name="T5" fmla="*/ 340 h 403"/>
              <a:gd name="T6" fmla="*/ 83 w 145"/>
              <a:gd name="T7" fmla="*/ 340 h 403"/>
              <a:gd name="T8" fmla="*/ 120 w 145"/>
              <a:gd name="T9" fmla="*/ 318 h 403"/>
              <a:gd name="T10" fmla="*/ 143 w 145"/>
              <a:gd name="T11" fmla="*/ 312 h 403"/>
              <a:gd name="T12" fmla="*/ 141 w 145"/>
              <a:gd name="T13" fmla="*/ 234 h 403"/>
              <a:gd name="T14" fmla="*/ 145 w 145"/>
              <a:gd name="T15" fmla="*/ 195 h 403"/>
              <a:gd name="T16" fmla="*/ 137 w 145"/>
              <a:gd name="T17" fmla="*/ 190 h 403"/>
              <a:gd name="T18" fmla="*/ 111 w 145"/>
              <a:gd name="T19" fmla="*/ 171 h 403"/>
              <a:gd name="T20" fmla="*/ 70 w 145"/>
              <a:gd name="T21" fmla="*/ 149 h 403"/>
              <a:gd name="T22" fmla="*/ 65 w 145"/>
              <a:gd name="T23" fmla="*/ 128 h 403"/>
              <a:gd name="T24" fmla="*/ 115 w 145"/>
              <a:gd name="T25" fmla="*/ 121 h 403"/>
              <a:gd name="T26" fmla="*/ 91 w 145"/>
              <a:gd name="T27" fmla="*/ 113 h 403"/>
              <a:gd name="T28" fmla="*/ 80 w 145"/>
              <a:gd name="T29" fmla="*/ 63 h 403"/>
              <a:gd name="T30" fmla="*/ 121 w 145"/>
              <a:gd name="T31" fmla="*/ 39 h 403"/>
              <a:gd name="T32" fmla="*/ 89 w 145"/>
              <a:gd name="T33" fmla="*/ 1 h 403"/>
              <a:gd name="T34" fmla="*/ 76 w 145"/>
              <a:gd name="T35" fmla="*/ 11 h 403"/>
              <a:gd name="T36" fmla="*/ 48 w 145"/>
              <a:gd name="T37" fmla="*/ 0 h 403"/>
              <a:gd name="T38" fmla="*/ 29 w 145"/>
              <a:gd name="T39" fmla="*/ 22 h 403"/>
              <a:gd name="T40" fmla="*/ 16 w 145"/>
              <a:gd name="T41" fmla="*/ 46 h 403"/>
              <a:gd name="T42" fmla="*/ 0 w 145"/>
              <a:gd name="T43" fmla="*/ 30 h 403"/>
              <a:gd name="T44" fmla="*/ 0 w 145"/>
              <a:gd name="T45" fmla="*/ 403 h 403"/>
              <a:gd name="T46" fmla="*/ 20 w 145"/>
              <a:gd name="T47" fmla="*/ 385 h 40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45"/>
              <a:gd name="T73" fmla="*/ 0 h 403"/>
              <a:gd name="T74" fmla="*/ 145 w 145"/>
              <a:gd name="T75" fmla="*/ 403 h 403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45" h="403">
                <a:moveTo>
                  <a:pt x="20" y="385"/>
                </a:moveTo>
                <a:cubicBezTo>
                  <a:pt x="46" y="381"/>
                  <a:pt x="46" y="381"/>
                  <a:pt x="46" y="381"/>
                </a:cubicBezTo>
                <a:cubicBezTo>
                  <a:pt x="48" y="340"/>
                  <a:pt x="48" y="340"/>
                  <a:pt x="48" y="340"/>
                </a:cubicBezTo>
                <a:cubicBezTo>
                  <a:pt x="83" y="340"/>
                  <a:pt x="83" y="340"/>
                  <a:pt x="83" y="340"/>
                </a:cubicBezTo>
                <a:cubicBezTo>
                  <a:pt x="83" y="340"/>
                  <a:pt x="101" y="327"/>
                  <a:pt x="120" y="318"/>
                </a:cubicBezTo>
                <a:cubicBezTo>
                  <a:pt x="128" y="315"/>
                  <a:pt x="136" y="313"/>
                  <a:pt x="143" y="312"/>
                </a:cubicBezTo>
                <a:cubicBezTo>
                  <a:pt x="141" y="234"/>
                  <a:pt x="141" y="234"/>
                  <a:pt x="141" y="234"/>
                </a:cubicBezTo>
                <a:cubicBezTo>
                  <a:pt x="145" y="195"/>
                  <a:pt x="145" y="195"/>
                  <a:pt x="145" y="195"/>
                </a:cubicBezTo>
                <a:cubicBezTo>
                  <a:pt x="137" y="190"/>
                  <a:pt x="137" y="190"/>
                  <a:pt x="137" y="190"/>
                </a:cubicBezTo>
                <a:cubicBezTo>
                  <a:pt x="111" y="171"/>
                  <a:pt x="111" y="171"/>
                  <a:pt x="111" y="171"/>
                </a:cubicBezTo>
                <a:cubicBezTo>
                  <a:pt x="70" y="149"/>
                  <a:pt x="70" y="149"/>
                  <a:pt x="70" y="149"/>
                </a:cubicBezTo>
                <a:cubicBezTo>
                  <a:pt x="65" y="128"/>
                  <a:pt x="65" y="128"/>
                  <a:pt x="65" y="128"/>
                </a:cubicBezTo>
                <a:cubicBezTo>
                  <a:pt x="115" y="121"/>
                  <a:pt x="115" y="121"/>
                  <a:pt x="115" y="121"/>
                </a:cubicBezTo>
                <a:cubicBezTo>
                  <a:pt x="91" y="113"/>
                  <a:pt x="91" y="113"/>
                  <a:pt x="91" y="113"/>
                </a:cubicBezTo>
                <a:cubicBezTo>
                  <a:pt x="91" y="113"/>
                  <a:pt x="80" y="68"/>
                  <a:pt x="80" y="63"/>
                </a:cubicBezTo>
                <a:cubicBezTo>
                  <a:pt x="80" y="57"/>
                  <a:pt x="134" y="42"/>
                  <a:pt x="121" y="39"/>
                </a:cubicBezTo>
                <a:cubicBezTo>
                  <a:pt x="107" y="35"/>
                  <a:pt x="89" y="1"/>
                  <a:pt x="89" y="1"/>
                </a:cubicBezTo>
                <a:cubicBezTo>
                  <a:pt x="76" y="11"/>
                  <a:pt x="76" y="11"/>
                  <a:pt x="76" y="11"/>
                </a:cubicBezTo>
                <a:cubicBezTo>
                  <a:pt x="48" y="0"/>
                  <a:pt x="48" y="0"/>
                  <a:pt x="48" y="0"/>
                </a:cubicBezTo>
                <a:cubicBezTo>
                  <a:pt x="29" y="22"/>
                  <a:pt x="29" y="22"/>
                  <a:pt x="29" y="22"/>
                </a:cubicBezTo>
                <a:cubicBezTo>
                  <a:pt x="16" y="46"/>
                  <a:pt x="16" y="46"/>
                  <a:pt x="16" y="46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403"/>
                  <a:pt x="0" y="403"/>
                  <a:pt x="0" y="403"/>
                </a:cubicBezTo>
                <a:lnTo>
                  <a:pt x="20" y="385"/>
                </a:lnTo>
                <a:close/>
              </a:path>
            </a:pathLst>
          </a:custGeom>
          <a:solidFill>
            <a:srgbClr val="C0C0C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41561" name="Freeform 217"/>
          <p:cNvSpPr>
            <a:spLocks noEditPoints="1"/>
          </p:cNvSpPr>
          <p:nvPr/>
        </p:nvSpPr>
        <p:spPr bwMode="auto">
          <a:xfrm>
            <a:off x="681114" y="889000"/>
            <a:ext cx="8008937" cy="4643438"/>
          </a:xfrm>
          <a:custGeom>
            <a:avLst/>
            <a:gdLst/>
            <a:ahLst/>
            <a:cxnLst>
              <a:cxn ang="0">
                <a:pos x="6151" y="2571"/>
              </a:cxn>
              <a:cxn ang="0">
                <a:pos x="6550" y="2973"/>
              </a:cxn>
              <a:cxn ang="0">
                <a:pos x="6919" y="3031"/>
              </a:cxn>
              <a:cxn ang="0">
                <a:pos x="6817" y="2149"/>
              </a:cxn>
              <a:cxn ang="0">
                <a:pos x="5977" y="1851"/>
              </a:cxn>
              <a:cxn ang="0">
                <a:pos x="5530" y="296"/>
              </a:cxn>
              <a:cxn ang="0">
                <a:pos x="4767" y="882"/>
              </a:cxn>
              <a:cxn ang="0">
                <a:pos x="4576" y="925"/>
              </a:cxn>
              <a:cxn ang="0">
                <a:pos x="3927" y="1474"/>
              </a:cxn>
              <a:cxn ang="0">
                <a:pos x="3382" y="916"/>
              </a:cxn>
              <a:cxn ang="0">
                <a:pos x="3586" y="990"/>
              </a:cxn>
              <a:cxn ang="0">
                <a:pos x="3012" y="1693"/>
              </a:cxn>
              <a:cxn ang="0">
                <a:pos x="2782" y="1569"/>
              </a:cxn>
              <a:cxn ang="0">
                <a:pos x="2666" y="657"/>
              </a:cxn>
              <a:cxn ang="0">
                <a:pos x="2843" y="764"/>
              </a:cxn>
              <a:cxn ang="0">
                <a:pos x="2710" y="692"/>
              </a:cxn>
              <a:cxn ang="0">
                <a:pos x="2307" y="1737"/>
              </a:cxn>
              <a:cxn ang="0">
                <a:pos x="2282" y="1685"/>
              </a:cxn>
              <a:cxn ang="0">
                <a:pos x="2444" y="1355"/>
              </a:cxn>
              <a:cxn ang="0">
                <a:pos x="2431" y="1281"/>
              </a:cxn>
              <a:cxn ang="0">
                <a:pos x="6665" y="1612"/>
              </a:cxn>
              <a:cxn ang="0">
                <a:pos x="6292" y="1151"/>
              </a:cxn>
              <a:cxn ang="0">
                <a:pos x="6192" y="517"/>
              </a:cxn>
              <a:cxn ang="0">
                <a:pos x="6122" y="258"/>
              </a:cxn>
              <a:cxn ang="0">
                <a:pos x="6018" y="151"/>
              </a:cxn>
              <a:cxn ang="0">
                <a:pos x="5627" y="673"/>
              </a:cxn>
              <a:cxn ang="0">
                <a:pos x="4967" y="1042"/>
              </a:cxn>
              <a:cxn ang="0">
                <a:pos x="4766" y="1380"/>
              </a:cxn>
              <a:cxn ang="0">
                <a:pos x="4364" y="1364"/>
              </a:cxn>
              <a:cxn ang="0">
                <a:pos x="3890" y="1573"/>
              </a:cxn>
              <a:cxn ang="0">
                <a:pos x="3808" y="1243"/>
              </a:cxn>
              <a:cxn ang="0">
                <a:pos x="3482" y="1389"/>
              </a:cxn>
              <a:cxn ang="0">
                <a:pos x="3056" y="1675"/>
              </a:cxn>
              <a:cxn ang="0">
                <a:pos x="2892" y="1670"/>
              </a:cxn>
              <a:cxn ang="0">
                <a:pos x="2857" y="2124"/>
              </a:cxn>
              <a:cxn ang="0">
                <a:pos x="2616" y="2232"/>
              </a:cxn>
              <a:cxn ang="0">
                <a:pos x="2570" y="1870"/>
              </a:cxn>
              <a:cxn ang="0">
                <a:pos x="2246" y="1894"/>
              </a:cxn>
              <a:cxn ang="0">
                <a:pos x="1830" y="1770"/>
              </a:cxn>
              <a:cxn ang="0">
                <a:pos x="1589" y="1723"/>
              </a:cxn>
              <a:cxn ang="0">
                <a:pos x="1339" y="1566"/>
              </a:cxn>
              <a:cxn ang="0">
                <a:pos x="1575" y="1351"/>
              </a:cxn>
              <a:cxn ang="0">
                <a:pos x="1128" y="1481"/>
              </a:cxn>
              <a:cxn ang="0">
                <a:pos x="461" y="1927"/>
              </a:cxn>
              <a:cxn ang="0">
                <a:pos x="316" y="2563"/>
              </a:cxn>
              <a:cxn ang="0">
                <a:pos x="156" y="3024"/>
              </a:cxn>
              <a:cxn ang="0">
                <a:pos x="220" y="3561"/>
              </a:cxn>
              <a:cxn ang="0">
                <a:pos x="734" y="3510"/>
              </a:cxn>
              <a:cxn ang="0">
                <a:pos x="1228" y="3273"/>
              </a:cxn>
              <a:cxn ang="0">
                <a:pos x="1724" y="3287"/>
              </a:cxn>
              <a:cxn ang="0">
                <a:pos x="2466" y="3483"/>
              </a:cxn>
              <a:cxn ang="0">
                <a:pos x="3256" y="3993"/>
              </a:cxn>
              <a:cxn ang="0">
                <a:pos x="3948" y="3726"/>
              </a:cxn>
              <a:cxn ang="0">
                <a:pos x="5067" y="3532"/>
              </a:cxn>
              <a:cxn ang="0">
                <a:pos x="5933" y="3356"/>
              </a:cxn>
              <a:cxn ang="0">
                <a:pos x="6129" y="3812"/>
              </a:cxn>
              <a:cxn ang="0">
                <a:pos x="6031" y="2619"/>
              </a:cxn>
              <a:cxn ang="0">
                <a:pos x="5781" y="2022"/>
              </a:cxn>
              <a:cxn ang="0">
                <a:pos x="6075" y="1669"/>
              </a:cxn>
              <a:cxn ang="0">
                <a:pos x="6105" y="1226"/>
              </a:cxn>
              <a:cxn ang="0">
                <a:pos x="6386" y="1855"/>
              </a:cxn>
              <a:cxn ang="0">
                <a:pos x="1037" y="1916"/>
              </a:cxn>
              <a:cxn ang="0">
                <a:pos x="4280" y="3569"/>
              </a:cxn>
            </a:cxnLst>
            <a:rect l="0" t="0" r="r" b="b"/>
            <a:pathLst>
              <a:path w="6934" h="4021">
                <a:moveTo>
                  <a:pt x="158" y="1818"/>
                </a:moveTo>
                <a:cubicBezTo>
                  <a:pt x="158" y="1818"/>
                  <a:pt x="142" y="1775"/>
                  <a:pt x="137" y="1771"/>
                </a:cubicBezTo>
                <a:cubicBezTo>
                  <a:pt x="131" y="1766"/>
                  <a:pt x="143" y="1747"/>
                  <a:pt x="143" y="1740"/>
                </a:cubicBezTo>
                <a:cubicBezTo>
                  <a:pt x="143" y="1733"/>
                  <a:pt x="127" y="1713"/>
                  <a:pt x="127" y="1713"/>
                </a:cubicBezTo>
                <a:cubicBezTo>
                  <a:pt x="127" y="1713"/>
                  <a:pt x="120" y="1733"/>
                  <a:pt x="111" y="1736"/>
                </a:cubicBezTo>
                <a:cubicBezTo>
                  <a:pt x="102" y="1739"/>
                  <a:pt x="72" y="1688"/>
                  <a:pt x="72" y="1688"/>
                </a:cubicBezTo>
                <a:cubicBezTo>
                  <a:pt x="72" y="1688"/>
                  <a:pt x="52" y="1695"/>
                  <a:pt x="44" y="1698"/>
                </a:cubicBezTo>
                <a:cubicBezTo>
                  <a:pt x="36" y="1701"/>
                  <a:pt x="17" y="1693"/>
                  <a:pt x="17" y="1693"/>
                </a:cubicBezTo>
                <a:cubicBezTo>
                  <a:pt x="106" y="1841"/>
                  <a:pt x="106" y="1841"/>
                  <a:pt x="106" y="1841"/>
                </a:cubicBezTo>
                <a:lnTo>
                  <a:pt x="158" y="1818"/>
                </a:lnTo>
                <a:close/>
                <a:moveTo>
                  <a:pt x="6525" y="2978"/>
                </a:moveTo>
                <a:cubicBezTo>
                  <a:pt x="6513" y="2972"/>
                  <a:pt x="6499" y="2953"/>
                  <a:pt x="6481" y="2953"/>
                </a:cubicBezTo>
                <a:cubicBezTo>
                  <a:pt x="6464" y="2953"/>
                  <a:pt x="6466" y="2970"/>
                  <a:pt x="6442" y="2950"/>
                </a:cubicBezTo>
                <a:cubicBezTo>
                  <a:pt x="6419" y="2929"/>
                  <a:pt x="6384" y="2864"/>
                  <a:pt x="6383" y="2859"/>
                </a:cubicBezTo>
                <a:cubicBezTo>
                  <a:pt x="6381" y="2854"/>
                  <a:pt x="6353" y="2820"/>
                  <a:pt x="6367" y="2804"/>
                </a:cubicBezTo>
                <a:cubicBezTo>
                  <a:pt x="6381" y="2788"/>
                  <a:pt x="6411" y="2771"/>
                  <a:pt x="6422" y="2773"/>
                </a:cubicBezTo>
                <a:cubicBezTo>
                  <a:pt x="6433" y="2774"/>
                  <a:pt x="6467" y="2781"/>
                  <a:pt x="6467" y="2781"/>
                </a:cubicBezTo>
                <a:cubicBezTo>
                  <a:pt x="6467" y="2781"/>
                  <a:pt x="6431" y="2768"/>
                  <a:pt x="6405" y="2752"/>
                </a:cubicBezTo>
                <a:cubicBezTo>
                  <a:pt x="6378" y="2737"/>
                  <a:pt x="6320" y="2712"/>
                  <a:pt x="6306" y="2701"/>
                </a:cubicBezTo>
                <a:cubicBezTo>
                  <a:pt x="6292" y="2690"/>
                  <a:pt x="6250" y="2654"/>
                  <a:pt x="6237" y="2647"/>
                </a:cubicBezTo>
                <a:cubicBezTo>
                  <a:pt x="6224" y="2641"/>
                  <a:pt x="6218" y="2641"/>
                  <a:pt x="6218" y="2641"/>
                </a:cubicBezTo>
                <a:cubicBezTo>
                  <a:pt x="6196" y="2622"/>
                  <a:pt x="6196" y="2622"/>
                  <a:pt x="6196" y="2622"/>
                </a:cubicBezTo>
                <a:cubicBezTo>
                  <a:pt x="6184" y="2622"/>
                  <a:pt x="6184" y="2622"/>
                  <a:pt x="6184" y="2622"/>
                </a:cubicBezTo>
                <a:cubicBezTo>
                  <a:pt x="6149" y="2586"/>
                  <a:pt x="6149" y="2586"/>
                  <a:pt x="6149" y="2586"/>
                </a:cubicBezTo>
                <a:cubicBezTo>
                  <a:pt x="6151" y="2571"/>
                  <a:pt x="6151" y="2571"/>
                  <a:pt x="6151" y="2571"/>
                </a:cubicBezTo>
                <a:cubicBezTo>
                  <a:pt x="6055" y="2497"/>
                  <a:pt x="6055" y="2497"/>
                  <a:pt x="6055" y="2497"/>
                </a:cubicBezTo>
                <a:cubicBezTo>
                  <a:pt x="6038" y="2473"/>
                  <a:pt x="6038" y="2473"/>
                  <a:pt x="6038" y="2473"/>
                </a:cubicBezTo>
                <a:cubicBezTo>
                  <a:pt x="6008" y="2467"/>
                  <a:pt x="6008" y="2467"/>
                  <a:pt x="6008" y="2467"/>
                </a:cubicBezTo>
                <a:cubicBezTo>
                  <a:pt x="6007" y="2495"/>
                  <a:pt x="6007" y="2495"/>
                  <a:pt x="6007" y="2495"/>
                </a:cubicBezTo>
                <a:cubicBezTo>
                  <a:pt x="6007" y="2495"/>
                  <a:pt x="6029" y="2489"/>
                  <a:pt x="6040" y="2505"/>
                </a:cubicBezTo>
                <a:cubicBezTo>
                  <a:pt x="6051" y="2520"/>
                  <a:pt x="6054" y="2536"/>
                  <a:pt x="6054" y="2536"/>
                </a:cubicBezTo>
                <a:cubicBezTo>
                  <a:pt x="6058" y="2552"/>
                  <a:pt x="6058" y="2552"/>
                  <a:pt x="6058" y="2552"/>
                </a:cubicBezTo>
                <a:cubicBezTo>
                  <a:pt x="6044" y="2560"/>
                  <a:pt x="6044" y="2560"/>
                  <a:pt x="6044" y="2560"/>
                </a:cubicBezTo>
                <a:cubicBezTo>
                  <a:pt x="6038" y="2585"/>
                  <a:pt x="6038" y="2585"/>
                  <a:pt x="6038" y="2585"/>
                </a:cubicBezTo>
                <a:cubicBezTo>
                  <a:pt x="6038" y="2585"/>
                  <a:pt x="6083" y="2610"/>
                  <a:pt x="6090" y="2627"/>
                </a:cubicBezTo>
                <a:cubicBezTo>
                  <a:pt x="6096" y="2644"/>
                  <a:pt x="6098" y="2676"/>
                  <a:pt x="6112" y="2677"/>
                </a:cubicBezTo>
                <a:cubicBezTo>
                  <a:pt x="6126" y="2679"/>
                  <a:pt x="6193" y="2699"/>
                  <a:pt x="6196" y="2712"/>
                </a:cubicBezTo>
                <a:cubicBezTo>
                  <a:pt x="6199" y="2724"/>
                  <a:pt x="6212" y="2755"/>
                  <a:pt x="6218" y="2760"/>
                </a:cubicBezTo>
                <a:cubicBezTo>
                  <a:pt x="6224" y="2765"/>
                  <a:pt x="6268" y="2787"/>
                  <a:pt x="6281" y="2807"/>
                </a:cubicBezTo>
                <a:cubicBezTo>
                  <a:pt x="6293" y="2828"/>
                  <a:pt x="6342" y="2911"/>
                  <a:pt x="6342" y="2911"/>
                </a:cubicBezTo>
                <a:cubicBezTo>
                  <a:pt x="6378" y="2915"/>
                  <a:pt x="6378" y="2915"/>
                  <a:pt x="6378" y="2915"/>
                </a:cubicBezTo>
                <a:cubicBezTo>
                  <a:pt x="6378" y="2915"/>
                  <a:pt x="6397" y="2975"/>
                  <a:pt x="6419" y="2987"/>
                </a:cubicBezTo>
                <a:cubicBezTo>
                  <a:pt x="6441" y="3000"/>
                  <a:pt x="6461" y="3019"/>
                  <a:pt x="6461" y="3019"/>
                </a:cubicBezTo>
                <a:cubicBezTo>
                  <a:pt x="6461" y="3019"/>
                  <a:pt x="6456" y="3047"/>
                  <a:pt x="6483" y="3064"/>
                </a:cubicBezTo>
                <a:cubicBezTo>
                  <a:pt x="6510" y="3081"/>
                  <a:pt x="6546" y="3105"/>
                  <a:pt x="6543" y="3100"/>
                </a:cubicBezTo>
                <a:cubicBezTo>
                  <a:pt x="6539" y="3095"/>
                  <a:pt x="6502" y="3012"/>
                  <a:pt x="6502" y="3012"/>
                </a:cubicBezTo>
                <a:cubicBezTo>
                  <a:pt x="6502" y="3012"/>
                  <a:pt x="6514" y="3030"/>
                  <a:pt x="6530" y="3017"/>
                </a:cubicBezTo>
                <a:cubicBezTo>
                  <a:pt x="6546" y="3005"/>
                  <a:pt x="6555" y="2997"/>
                  <a:pt x="6555" y="2997"/>
                </a:cubicBezTo>
                <a:cubicBezTo>
                  <a:pt x="6585" y="3012"/>
                  <a:pt x="6585" y="3012"/>
                  <a:pt x="6585" y="3012"/>
                </a:cubicBezTo>
                <a:cubicBezTo>
                  <a:pt x="6550" y="2973"/>
                  <a:pt x="6550" y="2973"/>
                  <a:pt x="6550" y="2973"/>
                </a:cubicBezTo>
                <a:cubicBezTo>
                  <a:pt x="6550" y="2973"/>
                  <a:pt x="6538" y="2984"/>
                  <a:pt x="6525" y="2978"/>
                </a:cubicBezTo>
                <a:close/>
                <a:moveTo>
                  <a:pt x="6825" y="3000"/>
                </a:moveTo>
                <a:cubicBezTo>
                  <a:pt x="6825" y="3006"/>
                  <a:pt x="6840" y="3053"/>
                  <a:pt x="6840" y="3053"/>
                </a:cubicBezTo>
                <a:cubicBezTo>
                  <a:pt x="6834" y="3080"/>
                  <a:pt x="6834" y="3080"/>
                  <a:pt x="6834" y="3080"/>
                </a:cubicBezTo>
                <a:cubicBezTo>
                  <a:pt x="6850" y="3092"/>
                  <a:pt x="6850" y="3092"/>
                  <a:pt x="6850" y="3092"/>
                </a:cubicBezTo>
                <a:cubicBezTo>
                  <a:pt x="6853" y="3044"/>
                  <a:pt x="6853" y="3044"/>
                  <a:pt x="6853" y="3044"/>
                </a:cubicBezTo>
                <a:cubicBezTo>
                  <a:pt x="6853" y="3044"/>
                  <a:pt x="6846" y="3014"/>
                  <a:pt x="6853" y="3011"/>
                </a:cubicBezTo>
                <a:cubicBezTo>
                  <a:pt x="6859" y="3008"/>
                  <a:pt x="6851" y="2994"/>
                  <a:pt x="6851" y="2994"/>
                </a:cubicBezTo>
                <a:lnTo>
                  <a:pt x="6825" y="3000"/>
                </a:lnTo>
                <a:close/>
                <a:moveTo>
                  <a:pt x="6883" y="2848"/>
                </a:moveTo>
                <a:cubicBezTo>
                  <a:pt x="6883" y="2843"/>
                  <a:pt x="6904" y="2812"/>
                  <a:pt x="6898" y="2809"/>
                </a:cubicBezTo>
                <a:cubicBezTo>
                  <a:pt x="6892" y="2806"/>
                  <a:pt x="6873" y="2799"/>
                  <a:pt x="6872" y="2807"/>
                </a:cubicBezTo>
                <a:cubicBezTo>
                  <a:pt x="6870" y="2815"/>
                  <a:pt x="6883" y="2845"/>
                  <a:pt x="6872" y="2848"/>
                </a:cubicBezTo>
                <a:cubicBezTo>
                  <a:pt x="6861" y="2851"/>
                  <a:pt x="6854" y="2857"/>
                  <a:pt x="6854" y="2857"/>
                </a:cubicBezTo>
                <a:cubicBezTo>
                  <a:pt x="6857" y="2903"/>
                  <a:pt x="6857" y="2903"/>
                  <a:pt x="6857" y="2903"/>
                </a:cubicBezTo>
                <a:cubicBezTo>
                  <a:pt x="6862" y="2942"/>
                  <a:pt x="6862" y="2942"/>
                  <a:pt x="6862" y="2942"/>
                </a:cubicBezTo>
                <a:cubicBezTo>
                  <a:pt x="6867" y="2940"/>
                  <a:pt x="6867" y="2940"/>
                  <a:pt x="6867" y="2940"/>
                </a:cubicBezTo>
                <a:cubicBezTo>
                  <a:pt x="6870" y="2965"/>
                  <a:pt x="6870" y="2965"/>
                  <a:pt x="6870" y="2965"/>
                </a:cubicBezTo>
                <a:cubicBezTo>
                  <a:pt x="6870" y="2965"/>
                  <a:pt x="6886" y="2951"/>
                  <a:pt x="6878" y="2940"/>
                </a:cubicBezTo>
                <a:cubicBezTo>
                  <a:pt x="6870" y="2929"/>
                  <a:pt x="6875" y="2893"/>
                  <a:pt x="6875" y="2893"/>
                </a:cubicBezTo>
                <a:cubicBezTo>
                  <a:pt x="6875" y="2893"/>
                  <a:pt x="6886" y="2890"/>
                  <a:pt x="6884" y="2882"/>
                </a:cubicBezTo>
                <a:cubicBezTo>
                  <a:pt x="6883" y="2875"/>
                  <a:pt x="6883" y="2853"/>
                  <a:pt x="6883" y="2848"/>
                </a:cubicBezTo>
                <a:close/>
                <a:moveTo>
                  <a:pt x="6906" y="3001"/>
                </a:moveTo>
                <a:cubicBezTo>
                  <a:pt x="6906" y="3001"/>
                  <a:pt x="6890" y="3019"/>
                  <a:pt x="6900" y="3025"/>
                </a:cubicBezTo>
                <a:cubicBezTo>
                  <a:pt x="6909" y="3031"/>
                  <a:pt x="6919" y="3031"/>
                  <a:pt x="6919" y="3031"/>
                </a:cubicBezTo>
                <a:cubicBezTo>
                  <a:pt x="6919" y="3031"/>
                  <a:pt x="6912" y="3001"/>
                  <a:pt x="6906" y="3001"/>
                </a:cubicBezTo>
                <a:close/>
                <a:moveTo>
                  <a:pt x="6912" y="2759"/>
                </a:moveTo>
                <a:cubicBezTo>
                  <a:pt x="6920" y="2759"/>
                  <a:pt x="6917" y="2726"/>
                  <a:pt x="6917" y="2712"/>
                </a:cubicBezTo>
                <a:cubicBezTo>
                  <a:pt x="6917" y="2697"/>
                  <a:pt x="6917" y="2671"/>
                  <a:pt x="6917" y="2671"/>
                </a:cubicBezTo>
                <a:cubicBezTo>
                  <a:pt x="6901" y="2683"/>
                  <a:pt x="6901" y="2683"/>
                  <a:pt x="6901" y="2683"/>
                </a:cubicBezTo>
                <a:cubicBezTo>
                  <a:pt x="6901" y="2683"/>
                  <a:pt x="6895" y="2759"/>
                  <a:pt x="6912" y="2759"/>
                </a:cubicBezTo>
                <a:close/>
                <a:moveTo>
                  <a:pt x="6912" y="2528"/>
                </a:moveTo>
                <a:cubicBezTo>
                  <a:pt x="6912" y="2528"/>
                  <a:pt x="6903" y="2566"/>
                  <a:pt x="6919" y="2567"/>
                </a:cubicBezTo>
                <a:cubicBezTo>
                  <a:pt x="6934" y="2569"/>
                  <a:pt x="6922" y="2527"/>
                  <a:pt x="6912" y="2528"/>
                </a:cubicBezTo>
                <a:close/>
                <a:moveTo>
                  <a:pt x="6912" y="2511"/>
                </a:moveTo>
                <a:cubicBezTo>
                  <a:pt x="6912" y="2502"/>
                  <a:pt x="6919" y="2491"/>
                  <a:pt x="6904" y="2492"/>
                </a:cubicBezTo>
                <a:cubicBezTo>
                  <a:pt x="6904" y="2492"/>
                  <a:pt x="6912" y="2520"/>
                  <a:pt x="6912" y="2511"/>
                </a:cubicBezTo>
                <a:close/>
                <a:moveTo>
                  <a:pt x="6886" y="2420"/>
                </a:moveTo>
                <a:cubicBezTo>
                  <a:pt x="6892" y="2417"/>
                  <a:pt x="6892" y="2406"/>
                  <a:pt x="6881" y="2406"/>
                </a:cubicBezTo>
                <a:cubicBezTo>
                  <a:pt x="6881" y="2406"/>
                  <a:pt x="6879" y="2423"/>
                  <a:pt x="6886" y="2420"/>
                </a:cubicBezTo>
                <a:close/>
                <a:moveTo>
                  <a:pt x="6801" y="2118"/>
                </a:moveTo>
                <a:cubicBezTo>
                  <a:pt x="6809" y="2113"/>
                  <a:pt x="6809" y="2113"/>
                  <a:pt x="6809" y="2113"/>
                </a:cubicBezTo>
                <a:cubicBezTo>
                  <a:pt x="6799" y="2094"/>
                  <a:pt x="6799" y="2094"/>
                  <a:pt x="6799" y="2094"/>
                </a:cubicBezTo>
                <a:cubicBezTo>
                  <a:pt x="6787" y="2094"/>
                  <a:pt x="6787" y="2094"/>
                  <a:pt x="6787" y="2094"/>
                </a:cubicBezTo>
                <a:cubicBezTo>
                  <a:pt x="6788" y="2110"/>
                  <a:pt x="6788" y="2110"/>
                  <a:pt x="6788" y="2110"/>
                </a:cubicBezTo>
                <a:cubicBezTo>
                  <a:pt x="6788" y="2110"/>
                  <a:pt x="6776" y="2121"/>
                  <a:pt x="6784" y="2127"/>
                </a:cubicBezTo>
                <a:cubicBezTo>
                  <a:pt x="6792" y="2133"/>
                  <a:pt x="6799" y="2154"/>
                  <a:pt x="6799" y="2154"/>
                </a:cubicBezTo>
                <a:cubicBezTo>
                  <a:pt x="6799" y="2154"/>
                  <a:pt x="6782" y="2185"/>
                  <a:pt x="6795" y="2190"/>
                </a:cubicBezTo>
                <a:cubicBezTo>
                  <a:pt x="6807" y="2195"/>
                  <a:pt x="6823" y="2199"/>
                  <a:pt x="6823" y="2199"/>
                </a:cubicBezTo>
                <a:cubicBezTo>
                  <a:pt x="6817" y="2149"/>
                  <a:pt x="6817" y="2149"/>
                  <a:pt x="6817" y="2149"/>
                </a:cubicBezTo>
                <a:lnTo>
                  <a:pt x="6801" y="2118"/>
                </a:lnTo>
                <a:close/>
                <a:moveTo>
                  <a:pt x="6843" y="2276"/>
                </a:moveTo>
                <a:cubicBezTo>
                  <a:pt x="6843" y="2276"/>
                  <a:pt x="6864" y="2281"/>
                  <a:pt x="6854" y="2270"/>
                </a:cubicBezTo>
                <a:cubicBezTo>
                  <a:pt x="6845" y="2259"/>
                  <a:pt x="6832" y="2245"/>
                  <a:pt x="6832" y="2245"/>
                </a:cubicBezTo>
                <a:lnTo>
                  <a:pt x="6843" y="2276"/>
                </a:lnTo>
                <a:close/>
                <a:moveTo>
                  <a:pt x="5748" y="2597"/>
                </a:moveTo>
                <a:cubicBezTo>
                  <a:pt x="5750" y="2633"/>
                  <a:pt x="5750" y="2633"/>
                  <a:pt x="5750" y="2633"/>
                </a:cubicBezTo>
                <a:cubicBezTo>
                  <a:pt x="5764" y="2629"/>
                  <a:pt x="5764" y="2629"/>
                  <a:pt x="5764" y="2629"/>
                </a:cubicBezTo>
                <a:cubicBezTo>
                  <a:pt x="5764" y="2629"/>
                  <a:pt x="5772" y="2641"/>
                  <a:pt x="5778" y="2638"/>
                </a:cubicBezTo>
                <a:cubicBezTo>
                  <a:pt x="5784" y="2635"/>
                  <a:pt x="5784" y="2607"/>
                  <a:pt x="5784" y="2607"/>
                </a:cubicBezTo>
                <a:cubicBezTo>
                  <a:pt x="5768" y="2594"/>
                  <a:pt x="5768" y="2594"/>
                  <a:pt x="5768" y="2594"/>
                </a:cubicBezTo>
                <a:lnTo>
                  <a:pt x="5748" y="2597"/>
                </a:lnTo>
                <a:close/>
                <a:moveTo>
                  <a:pt x="5734" y="2638"/>
                </a:moveTo>
                <a:cubicBezTo>
                  <a:pt x="5726" y="2622"/>
                  <a:pt x="5726" y="2622"/>
                  <a:pt x="5726" y="2622"/>
                </a:cubicBezTo>
                <a:cubicBezTo>
                  <a:pt x="5714" y="2646"/>
                  <a:pt x="5714" y="2646"/>
                  <a:pt x="5714" y="2646"/>
                </a:cubicBezTo>
                <a:lnTo>
                  <a:pt x="5734" y="2638"/>
                </a:lnTo>
                <a:close/>
                <a:moveTo>
                  <a:pt x="5794" y="2652"/>
                </a:moveTo>
                <a:cubicBezTo>
                  <a:pt x="5801" y="2650"/>
                  <a:pt x="5792" y="2635"/>
                  <a:pt x="5786" y="2641"/>
                </a:cubicBezTo>
                <a:cubicBezTo>
                  <a:pt x="5786" y="2641"/>
                  <a:pt x="5786" y="2654"/>
                  <a:pt x="5794" y="2652"/>
                </a:cubicBezTo>
                <a:close/>
                <a:moveTo>
                  <a:pt x="5797" y="2697"/>
                </a:moveTo>
                <a:cubicBezTo>
                  <a:pt x="5798" y="2687"/>
                  <a:pt x="5806" y="2660"/>
                  <a:pt x="5797" y="2658"/>
                </a:cubicBezTo>
                <a:cubicBezTo>
                  <a:pt x="5797" y="2658"/>
                  <a:pt x="5779" y="2682"/>
                  <a:pt x="5779" y="2690"/>
                </a:cubicBezTo>
                <a:cubicBezTo>
                  <a:pt x="5779" y="2697"/>
                  <a:pt x="5795" y="2708"/>
                  <a:pt x="5797" y="2697"/>
                </a:cubicBezTo>
                <a:close/>
                <a:moveTo>
                  <a:pt x="5971" y="1870"/>
                </a:moveTo>
                <a:cubicBezTo>
                  <a:pt x="5982" y="1873"/>
                  <a:pt x="5977" y="1851"/>
                  <a:pt x="5977" y="1851"/>
                </a:cubicBezTo>
                <a:cubicBezTo>
                  <a:pt x="5969" y="1850"/>
                  <a:pt x="5960" y="1867"/>
                  <a:pt x="5971" y="1870"/>
                </a:cubicBezTo>
                <a:close/>
                <a:moveTo>
                  <a:pt x="6356" y="1287"/>
                </a:moveTo>
                <a:cubicBezTo>
                  <a:pt x="6354" y="1330"/>
                  <a:pt x="6354" y="1330"/>
                  <a:pt x="6354" y="1330"/>
                </a:cubicBezTo>
                <a:cubicBezTo>
                  <a:pt x="6384" y="1355"/>
                  <a:pt x="6384" y="1355"/>
                  <a:pt x="6384" y="1355"/>
                </a:cubicBezTo>
                <a:cubicBezTo>
                  <a:pt x="6384" y="1355"/>
                  <a:pt x="6398" y="1308"/>
                  <a:pt x="6386" y="1297"/>
                </a:cubicBezTo>
                <a:cubicBezTo>
                  <a:pt x="6373" y="1286"/>
                  <a:pt x="6356" y="1287"/>
                  <a:pt x="6356" y="1287"/>
                </a:cubicBezTo>
                <a:close/>
                <a:moveTo>
                  <a:pt x="6792" y="1397"/>
                </a:moveTo>
                <a:cubicBezTo>
                  <a:pt x="6773" y="1383"/>
                  <a:pt x="6773" y="1383"/>
                  <a:pt x="6773" y="1383"/>
                </a:cubicBezTo>
                <a:cubicBezTo>
                  <a:pt x="6751" y="1394"/>
                  <a:pt x="6751" y="1394"/>
                  <a:pt x="6751" y="1394"/>
                </a:cubicBezTo>
                <a:cubicBezTo>
                  <a:pt x="6726" y="1384"/>
                  <a:pt x="6726" y="1384"/>
                  <a:pt x="6726" y="1384"/>
                </a:cubicBezTo>
                <a:cubicBezTo>
                  <a:pt x="6721" y="1405"/>
                  <a:pt x="6721" y="1405"/>
                  <a:pt x="6721" y="1405"/>
                </a:cubicBezTo>
                <a:cubicBezTo>
                  <a:pt x="6770" y="1408"/>
                  <a:pt x="6770" y="1408"/>
                  <a:pt x="6770" y="1408"/>
                </a:cubicBezTo>
                <a:lnTo>
                  <a:pt x="6792" y="1397"/>
                </a:lnTo>
                <a:close/>
                <a:moveTo>
                  <a:pt x="6842" y="1339"/>
                </a:moveTo>
                <a:cubicBezTo>
                  <a:pt x="6832" y="1328"/>
                  <a:pt x="6803" y="1337"/>
                  <a:pt x="6798" y="1347"/>
                </a:cubicBezTo>
                <a:cubicBezTo>
                  <a:pt x="6798" y="1347"/>
                  <a:pt x="6851" y="1350"/>
                  <a:pt x="6842" y="1339"/>
                </a:cubicBezTo>
                <a:close/>
                <a:moveTo>
                  <a:pt x="5554" y="296"/>
                </a:moveTo>
                <a:cubicBezTo>
                  <a:pt x="5555" y="269"/>
                  <a:pt x="5555" y="269"/>
                  <a:pt x="5555" y="269"/>
                </a:cubicBezTo>
                <a:cubicBezTo>
                  <a:pt x="5543" y="253"/>
                  <a:pt x="5543" y="253"/>
                  <a:pt x="5543" y="253"/>
                </a:cubicBezTo>
                <a:cubicBezTo>
                  <a:pt x="5557" y="247"/>
                  <a:pt x="5557" y="247"/>
                  <a:pt x="5557" y="247"/>
                </a:cubicBezTo>
                <a:cubicBezTo>
                  <a:pt x="5557" y="247"/>
                  <a:pt x="5563" y="192"/>
                  <a:pt x="5557" y="173"/>
                </a:cubicBezTo>
                <a:cubicBezTo>
                  <a:pt x="5551" y="154"/>
                  <a:pt x="5501" y="195"/>
                  <a:pt x="5501" y="195"/>
                </a:cubicBezTo>
                <a:cubicBezTo>
                  <a:pt x="5501" y="195"/>
                  <a:pt x="5499" y="198"/>
                  <a:pt x="5499" y="208"/>
                </a:cubicBezTo>
                <a:cubicBezTo>
                  <a:pt x="5499" y="217"/>
                  <a:pt x="5493" y="231"/>
                  <a:pt x="5493" y="231"/>
                </a:cubicBezTo>
                <a:cubicBezTo>
                  <a:pt x="5493" y="249"/>
                  <a:pt x="5530" y="296"/>
                  <a:pt x="5530" y="296"/>
                </a:cubicBezTo>
                <a:lnTo>
                  <a:pt x="5554" y="296"/>
                </a:lnTo>
                <a:close/>
                <a:moveTo>
                  <a:pt x="4521" y="1173"/>
                </a:moveTo>
                <a:cubicBezTo>
                  <a:pt x="4521" y="1173"/>
                  <a:pt x="4562" y="1203"/>
                  <a:pt x="4562" y="1189"/>
                </a:cubicBezTo>
                <a:cubicBezTo>
                  <a:pt x="4562" y="1175"/>
                  <a:pt x="4529" y="1168"/>
                  <a:pt x="4521" y="1173"/>
                </a:cubicBezTo>
                <a:close/>
                <a:moveTo>
                  <a:pt x="4457" y="1079"/>
                </a:moveTo>
                <a:cubicBezTo>
                  <a:pt x="4460" y="1070"/>
                  <a:pt x="4427" y="1030"/>
                  <a:pt x="4424" y="1038"/>
                </a:cubicBezTo>
                <a:cubicBezTo>
                  <a:pt x="4424" y="1038"/>
                  <a:pt x="4454" y="1088"/>
                  <a:pt x="4457" y="1079"/>
                </a:cubicBezTo>
                <a:close/>
                <a:moveTo>
                  <a:pt x="4639" y="1077"/>
                </a:moveTo>
                <a:cubicBezTo>
                  <a:pt x="4639" y="1077"/>
                  <a:pt x="4612" y="1087"/>
                  <a:pt x="4629" y="1098"/>
                </a:cubicBezTo>
                <a:cubicBezTo>
                  <a:pt x="4647" y="1109"/>
                  <a:pt x="4662" y="1113"/>
                  <a:pt x="4662" y="1113"/>
                </a:cubicBezTo>
                <a:cubicBezTo>
                  <a:pt x="4662" y="1113"/>
                  <a:pt x="4662" y="1063"/>
                  <a:pt x="4639" y="1077"/>
                </a:cubicBezTo>
                <a:close/>
                <a:moveTo>
                  <a:pt x="4695" y="1135"/>
                </a:moveTo>
                <a:cubicBezTo>
                  <a:pt x="4698" y="1126"/>
                  <a:pt x="4763" y="1113"/>
                  <a:pt x="4767" y="1098"/>
                </a:cubicBezTo>
                <a:cubicBezTo>
                  <a:pt x="4772" y="1082"/>
                  <a:pt x="4730" y="1079"/>
                  <a:pt x="4701" y="1074"/>
                </a:cubicBezTo>
                <a:cubicBezTo>
                  <a:pt x="4673" y="1070"/>
                  <a:pt x="4675" y="1109"/>
                  <a:pt x="4675" y="1109"/>
                </a:cubicBezTo>
                <a:cubicBezTo>
                  <a:pt x="4675" y="1109"/>
                  <a:pt x="4680" y="1120"/>
                  <a:pt x="4687" y="1123"/>
                </a:cubicBezTo>
                <a:cubicBezTo>
                  <a:pt x="4695" y="1126"/>
                  <a:pt x="4678" y="1164"/>
                  <a:pt x="4678" y="1164"/>
                </a:cubicBezTo>
                <a:cubicBezTo>
                  <a:pt x="4678" y="1164"/>
                  <a:pt x="4692" y="1145"/>
                  <a:pt x="4695" y="1135"/>
                </a:cubicBezTo>
                <a:close/>
                <a:moveTo>
                  <a:pt x="4609" y="728"/>
                </a:moveTo>
                <a:cubicBezTo>
                  <a:pt x="4609" y="756"/>
                  <a:pt x="4609" y="756"/>
                  <a:pt x="4609" y="756"/>
                </a:cubicBezTo>
                <a:cubicBezTo>
                  <a:pt x="4620" y="740"/>
                  <a:pt x="4620" y="740"/>
                  <a:pt x="4620" y="740"/>
                </a:cubicBezTo>
                <a:lnTo>
                  <a:pt x="4609" y="728"/>
                </a:lnTo>
                <a:close/>
                <a:moveTo>
                  <a:pt x="4678" y="907"/>
                </a:moveTo>
                <a:cubicBezTo>
                  <a:pt x="4695" y="907"/>
                  <a:pt x="4700" y="889"/>
                  <a:pt x="4723" y="891"/>
                </a:cubicBezTo>
                <a:cubicBezTo>
                  <a:pt x="4747" y="892"/>
                  <a:pt x="4753" y="903"/>
                  <a:pt x="4767" y="882"/>
                </a:cubicBezTo>
                <a:cubicBezTo>
                  <a:pt x="4781" y="860"/>
                  <a:pt x="4781" y="831"/>
                  <a:pt x="4781" y="831"/>
                </a:cubicBezTo>
                <a:cubicBezTo>
                  <a:pt x="4770" y="816"/>
                  <a:pt x="4770" y="816"/>
                  <a:pt x="4770" y="816"/>
                </a:cubicBezTo>
                <a:cubicBezTo>
                  <a:pt x="4755" y="831"/>
                  <a:pt x="4755" y="831"/>
                  <a:pt x="4755" y="831"/>
                </a:cubicBezTo>
                <a:cubicBezTo>
                  <a:pt x="4755" y="831"/>
                  <a:pt x="4741" y="825"/>
                  <a:pt x="4736" y="833"/>
                </a:cubicBezTo>
                <a:cubicBezTo>
                  <a:pt x="4731" y="841"/>
                  <a:pt x="4722" y="858"/>
                  <a:pt x="4722" y="858"/>
                </a:cubicBezTo>
                <a:cubicBezTo>
                  <a:pt x="4701" y="844"/>
                  <a:pt x="4701" y="844"/>
                  <a:pt x="4701" y="844"/>
                </a:cubicBezTo>
                <a:cubicBezTo>
                  <a:pt x="4684" y="856"/>
                  <a:pt x="4684" y="856"/>
                  <a:pt x="4684" y="856"/>
                </a:cubicBezTo>
                <a:cubicBezTo>
                  <a:pt x="4684" y="856"/>
                  <a:pt x="4697" y="880"/>
                  <a:pt x="4684" y="880"/>
                </a:cubicBezTo>
                <a:cubicBezTo>
                  <a:pt x="4672" y="880"/>
                  <a:pt x="4658" y="874"/>
                  <a:pt x="4658" y="874"/>
                </a:cubicBezTo>
                <a:cubicBezTo>
                  <a:pt x="4658" y="874"/>
                  <a:pt x="4661" y="907"/>
                  <a:pt x="4678" y="907"/>
                </a:cubicBezTo>
                <a:close/>
                <a:moveTo>
                  <a:pt x="4460" y="982"/>
                </a:moveTo>
                <a:cubicBezTo>
                  <a:pt x="4459" y="994"/>
                  <a:pt x="4459" y="1004"/>
                  <a:pt x="4459" y="1004"/>
                </a:cubicBezTo>
                <a:cubicBezTo>
                  <a:pt x="4488" y="1043"/>
                  <a:pt x="4488" y="1043"/>
                  <a:pt x="4488" y="1043"/>
                </a:cubicBezTo>
                <a:cubicBezTo>
                  <a:pt x="4490" y="1065"/>
                  <a:pt x="4490" y="1065"/>
                  <a:pt x="4490" y="1065"/>
                </a:cubicBezTo>
                <a:cubicBezTo>
                  <a:pt x="4490" y="1065"/>
                  <a:pt x="4523" y="1065"/>
                  <a:pt x="4526" y="1070"/>
                </a:cubicBezTo>
                <a:cubicBezTo>
                  <a:pt x="4529" y="1074"/>
                  <a:pt x="4553" y="1087"/>
                  <a:pt x="4553" y="1087"/>
                </a:cubicBezTo>
                <a:cubicBezTo>
                  <a:pt x="4553" y="1087"/>
                  <a:pt x="4590" y="1085"/>
                  <a:pt x="4582" y="1071"/>
                </a:cubicBezTo>
                <a:cubicBezTo>
                  <a:pt x="4575" y="1057"/>
                  <a:pt x="4546" y="1043"/>
                  <a:pt x="4564" y="1041"/>
                </a:cubicBezTo>
                <a:cubicBezTo>
                  <a:pt x="4581" y="1040"/>
                  <a:pt x="4581" y="1038"/>
                  <a:pt x="4589" y="1033"/>
                </a:cubicBezTo>
                <a:cubicBezTo>
                  <a:pt x="4596" y="1029"/>
                  <a:pt x="4615" y="997"/>
                  <a:pt x="4615" y="997"/>
                </a:cubicBezTo>
                <a:cubicBezTo>
                  <a:pt x="4634" y="1004"/>
                  <a:pt x="4634" y="1004"/>
                  <a:pt x="4634" y="1004"/>
                </a:cubicBezTo>
                <a:cubicBezTo>
                  <a:pt x="4643" y="972"/>
                  <a:pt x="4643" y="972"/>
                  <a:pt x="4643" y="972"/>
                </a:cubicBezTo>
                <a:cubicBezTo>
                  <a:pt x="4643" y="972"/>
                  <a:pt x="4634" y="974"/>
                  <a:pt x="4614" y="971"/>
                </a:cubicBezTo>
                <a:cubicBezTo>
                  <a:pt x="4593" y="968"/>
                  <a:pt x="4559" y="935"/>
                  <a:pt x="4559" y="935"/>
                </a:cubicBezTo>
                <a:cubicBezTo>
                  <a:pt x="4576" y="925"/>
                  <a:pt x="4576" y="925"/>
                  <a:pt x="4576" y="925"/>
                </a:cubicBezTo>
                <a:cubicBezTo>
                  <a:pt x="4576" y="925"/>
                  <a:pt x="4592" y="913"/>
                  <a:pt x="4592" y="925"/>
                </a:cubicBezTo>
                <a:cubicBezTo>
                  <a:pt x="4592" y="938"/>
                  <a:pt x="4592" y="957"/>
                  <a:pt x="4592" y="957"/>
                </a:cubicBezTo>
                <a:cubicBezTo>
                  <a:pt x="4592" y="957"/>
                  <a:pt x="4614" y="957"/>
                  <a:pt x="4620" y="957"/>
                </a:cubicBezTo>
                <a:cubicBezTo>
                  <a:pt x="4626" y="957"/>
                  <a:pt x="4661" y="952"/>
                  <a:pt x="4656" y="941"/>
                </a:cubicBezTo>
                <a:cubicBezTo>
                  <a:pt x="4651" y="930"/>
                  <a:pt x="4642" y="921"/>
                  <a:pt x="4640" y="916"/>
                </a:cubicBezTo>
                <a:cubicBezTo>
                  <a:pt x="4639" y="911"/>
                  <a:pt x="4639" y="892"/>
                  <a:pt x="4639" y="892"/>
                </a:cubicBezTo>
                <a:cubicBezTo>
                  <a:pt x="4639" y="892"/>
                  <a:pt x="4617" y="885"/>
                  <a:pt x="4600" y="894"/>
                </a:cubicBezTo>
                <a:cubicBezTo>
                  <a:pt x="4582" y="903"/>
                  <a:pt x="4575" y="919"/>
                  <a:pt x="4570" y="919"/>
                </a:cubicBezTo>
                <a:cubicBezTo>
                  <a:pt x="4565" y="919"/>
                  <a:pt x="4524" y="916"/>
                  <a:pt x="4524" y="916"/>
                </a:cubicBezTo>
                <a:cubicBezTo>
                  <a:pt x="4521" y="944"/>
                  <a:pt x="4521" y="944"/>
                  <a:pt x="4521" y="944"/>
                </a:cubicBezTo>
                <a:cubicBezTo>
                  <a:pt x="4549" y="961"/>
                  <a:pt x="4549" y="961"/>
                  <a:pt x="4549" y="961"/>
                </a:cubicBezTo>
                <a:cubicBezTo>
                  <a:pt x="4535" y="976"/>
                  <a:pt x="4535" y="976"/>
                  <a:pt x="4535" y="976"/>
                </a:cubicBezTo>
                <a:cubicBezTo>
                  <a:pt x="4523" y="968"/>
                  <a:pt x="4523" y="968"/>
                  <a:pt x="4523" y="968"/>
                </a:cubicBezTo>
                <a:cubicBezTo>
                  <a:pt x="4509" y="969"/>
                  <a:pt x="4509" y="969"/>
                  <a:pt x="4509" y="969"/>
                </a:cubicBezTo>
                <a:cubicBezTo>
                  <a:pt x="4495" y="960"/>
                  <a:pt x="4495" y="960"/>
                  <a:pt x="4495" y="960"/>
                </a:cubicBezTo>
                <a:cubicBezTo>
                  <a:pt x="4457" y="954"/>
                  <a:pt x="4457" y="954"/>
                  <a:pt x="4457" y="954"/>
                </a:cubicBezTo>
                <a:cubicBezTo>
                  <a:pt x="4457" y="954"/>
                  <a:pt x="4462" y="969"/>
                  <a:pt x="4460" y="982"/>
                </a:cubicBezTo>
                <a:close/>
                <a:moveTo>
                  <a:pt x="3937" y="1493"/>
                </a:moveTo>
                <a:cubicBezTo>
                  <a:pt x="3924" y="1494"/>
                  <a:pt x="3916" y="1510"/>
                  <a:pt x="3916" y="1510"/>
                </a:cubicBezTo>
                <a:cubicBezTo>
                  <a:pt x="3893" y="1513"/>
                  <a:pt x="3893" y="1513"/>
                  <a:pt x="3893" y="1513"/>
                </a:cubicBezTo>
                <a:cubicBezTo>
                  <a:pt x="3893" y="1513"/>
                  <a:pt x="3885" y="1543"/>
                  <a:pt x="3891" y="1543"/>
                </a:cubicBezTo>
                <a:cubicBezTo>
                  <a:pt x="3898" y="1543"/>
                  <a:pt x="3920" y="1529"/>
                  <a:pt x="3920" y="1529"/>
                </a:cubicBezTo>
                <a:cubicBezTo>
                  <a:pt x="3920" y="1529"/>
                  <a:pt x="3949" y="1491"/>
                  <a:pt x="3937" y="1493"/>
                </a:cubicBezTo>
                <a:close/>
                <a:moveTo>
                  <a:pt x="3938" y="1438"/>
                </a:moveTo>
                <a:cubicBezTo>
                  <a:pt x="3931" y="1439"/>
                  <a:pt x="3927" y="1474"/>
                  <a:pt x="3927" y="1474"/>
                </a:cubicBezTo>
                <a:cubicBezTo>
                  <a:pt x="3927" y="1474"/>
                  <a:pt x="3948" y="1475"/>
                  <a:pt x="3963" y="1475"/>
                </a:cubicBezTo>
                <a:cubicBezTo>
                  <a:pt x="3979" y="1475"/>
                  <a:pt x="3974" y="1439"/>
                  <a:pt x="3974" y="1439"/>
                </a:cubicBezTo>
                <a:cubicBezTo>
                  <a:pt x="3974" y="1439"/>
                  <a:pt x="3946" y="1436"/>
                  <a:pt x="3938" y="1438"/>
                </a:cubicBezTo>
                <a:close/>
                <a:moveTo>
                  <a:pt x="4761" y="1372"/>
                </a:moveTo>
                <a:cubicBezTo>
                  <a:pt x="4779" y="1360"/>
                  <a:pt x="4756" y="1350"/>
                  <a:pt x="4742" y="1352"/>
                </a:cubicBezTo>
                <a:cubicBezTo>
                  <a:pt x="4742" y="1352"/>
                  <a:pt x="4743" y="1384"/>
                  <a:pt x="4761" y="1372"/>
                </a:cubicBezTo>
                <a:close/>
                <a:moveTo>
                  <a:pt x="3409" y="960"/>
                </a:moveTo>
                <a:cubicBezTo>
                  <a:pt x="3393" y="944"/>
                  <a:pt x="3385" y="946"/>
                  <a:pt x="3373" y="946"/>
                </a:cubicBezTo>
                <a:cubicBezTo>
                  <a:pt x="3360" y="946"/>
                  <a:pt x="3349" y="947"/>
                  <a:pt x="3349" y="947"/>
                </a:cubicBezTo>
                <a:cubicBezTo>
                  <a:pt x="3351" y="965"/>
                  <a:pt x="3351" y="965"/>
                  <a:pt x="3351" y="965"/>
                </a:cubicBezTo>
                <a:cubicBezTo>
                  <a:pt x="3390" y="985"/>
                  <a:pt x="3390" y="985"/>
                  <a:pt x="3390" y="985"/>
                </a:cubicBezTo>
                <a:cubicBezTo>
                  <a:pt x="3390" y="985"/>
                  <a:pt x="3424" y="976"/>
                  <a:pt x="3409" y="960"/>
                </a:cubicBezTo>
                <a:close/>
                <a:moveTo>
                  <a:pt x="3384" y="930"/>
                </a:moveTo>
                <a:cubicBezTo>
                  <a:pt x="3409" y="943"/>
                  <a:pt x="3409" y="943"/>
                  <a:pt x="3409" y="943"/>
                </a:cubicBezTo>
                <a:cubicBezTo>
                  <a:pt x="3431" y="924"/>
                  <a:pt x="3431" y="924"/>
                  <a:pt x="3431" y="924"/>
                </a:cubicBezTo>
                <a:cubicBezTo>
                  <a:pt x="3431" y="924"/>
                  <a:pt x="3462" y="911"/>
                  <a:pt x="3467" y="910"/>
                </a:cubicBezTo>
                <a:cubicBezTo>
                  <a:pt x="3471" y="908"/>
                  <a:pt x="3457" y="882"/>
                  <a:pt x="3457" y="875"/>
                </a:cubicBezTo>
                <a:cubicBezTo>
                  <a:pt x="3457" y="869"/>
                  <a:pt x="3475" y="863"/>
                  <a:pt x="3475" y="863"/>
                </a:cubicBezTo>
                <a:cubicBezTo>
                  <a:pt x="3475" y="863"/>
                  <a:pt x="3478" y="856"/>
                  <a:pt x="3454" y="842"/>
                </a:cubicBezTo>
                <a:cubicBezTo>
                  <a:pt x="3431" y="828"/>
                  <a:pt x="3424" y="803"/>
                  <a:pt x="3424" y="803"/>
                </a:cubicBezTo>
                <a:cubicBezTo>
                  <a:pt x="3424" y="803"/>
                  <a:pt x="3421" y="814"/>
                  <a:pt x="3421" y="820"/>
                </a:cubicBezTo>
                <a:cubicBezTo>
                  <a:pt x="3421" y="827"/>
                  <a:pt x="3406" y="830"/>
                  <a:pt x="3390" y="841"/>
                </a:cubicBezTo>
                <a:cubicBezTo>
                  <a:pt x="3374" y="852"/>
                  <a:pt x="3390" y="871"/>
                  <a:pt x="3390" y="883"/>
                </a:cubicBezTo>
                <a:cubicBezTo>
                  <a:pt x="3390" y="896"/>
                  <a:pt x="3367" y="907"/>
                  <a:pt x="3363" y="911"/>
                </a:cubicBezTo>
                <a:cubicBezTo>
                  <a:pt x="3382" y="916"/>
                  <a:pt x="3382" y="916"/>
                  <a:pt x="3382" y="916"/>
                </a:cubicBezTo>
                <a:lnTo>
                  <a:pt x="3384" y="930"/>
                </a:lnTo>
                <a:close/>
                <a:moveTo>
                  <a:pt x="3424" y="946"/>
                </a:moveTo>
                <a:cubicBezTo>
                  <a:pt x="3424" y="977"/>
                  <a:pt x="3424" y="977"/>
                  <a:pt x="3424" y="977"/>
                </a:cubicBezTo>
                <a:cubicBezTo>
                  <a:pt x="3398" y="999"/>
                  <a:pt x="3398" y="999"/>
                  <a:pt x="3398" y="999"/>
                </a:cubicBezTo>
                <a:cubicBezTo>
                  <a:pt x="3398" y="999"/>
                  <a:pt x="3403" y="1001"/>
                  <a:pt x="3415" y="1012"/>
                </a:cubicBezTo>
                <a:cubicBezTo>
                  <a:pt x="3428" y="1023"/>
                  <a:pt x="3432" y="1048"/>
                  <a:pt x="3432" y="1048"/>
                </a:cubicBezTo>
                <a:cubicBezTo>
                  <a:pt x="3446" y="1048"/>
                  <a:pt x="3446" y="1048"/>
                  <a:pt x="3446" y="1048"/>
                </a:cubicBezTo>
                <a:cubicBezTo>
                  <a:pt x="3451" y="1055"/>
                  <a:pt x="3451" y="1055"/>
                  <a:pt x="3451" y="1055"/>
                </a:cubicBezTo>
                <a:cubicBezTo>
                  <a:pt x="3470" y="1055"/>
                  <a:pt x="3470" y="1055"/>
                  <a:pt x="3470" y="1055"/>
                </a:cubicBezTo>
                <a:cubicBezTo>
                  <a:pt x="3492" y="1074"/>
                  <a:pt x="3492" y="1074"/>
                  <a:pt x="3492" y="1074"/>
                </a:cubicBezTo>
                <a:cubicBezTo>
                  <a:pt x="3492" y="1074"/>
                  <a:pt x="3534" y="1059"/>
                  <a:pt x="3536" y="1051"/>
                </a:cubicBezTo>
                <a:cubicBezTo>
                  <a:pt x="3537" y="1043"/>
                  <a:pt x="3518" y="1024"/>
                  <a:pt x="3522" y="1018"/>
                </a:cubicBezTo>
                <a:cubicBezTo>
                  <a:pt x="3525" y="1012"/>
                  <a:pt x="3526" y="965"/>
                  <a:pt x="3526" y="965"/>
                </a:cubicBezTo>
                <a:cubicBezTo>
                  <a:pt x="3526" y="965"/>
                  <a:pt x="3508" y="936"/>
                  <a:pt x="3500" y="933"/>
                </a:cubicBezTo>
                <a:cubicBezTo>
                  <a:pt x="3492" y="930"/>
                  <a:pt x="3498" y="955"/>
                  <a:pt x="3498" y="955"/>
                </a:cubicBezTo>
                <a:cubicBezTo>
                  <a:pt x="3498" y="955"/>
                  <a:pt x="3484" y="965"/>
                  <a:pt x="3479" y="965"/>
                </a:cubicBezTo>
                <a:cubicBezTo>
                  <a:pt x="3475" y="965"/>
                  <a:pt x="3478" y="927"/>
                  <a:pt x="3478" y="927"/>
                </a:cubicBezTo>
                <a:lnTo>
                  <a:pt x="3424" y="946"/>
                </a:lnTo>
                <a:close/>
                <a:moveTo>
                  <a:pt x="3542" y="1154"/>
                </a:moveTo>
                <a:cubicBezTo>
                  <a:pt x="3558" y="1156"/>
                  <a:pt x="3576" y="1131"/>
                  <a:pt x="3587" y="1131"/>
                </a:cubicBezTo>
                <a:cubicBezTo>
                  <a:pt x="3598" y="1131"/>
                  <a:pt x="3669" y="1107"/>
                  <a:pt x="3661" y="1082"/>
                </a:cubicBezTo>
                <a:cubicBezTo>
                  <a:pt x="3653" y="1057"/>
                  <a:pt x="3634" y="1049"/>
                  <a:pt x="3634" y="1049"/>
                </a:cubicBezTo>
                <a:cubicBezTo>
                  <a:pt x="3612" y="1019"/>
                  <a:pt x="3612" y="1019"/>
                  <a:pt x="3612" y="1019"/>
                </a:cubicBezTo>
                <a:cubicBezTo>
                  <a:pt x="3597" y="1046"/>
                  <a:pt x="3597" y="1046"/>
                  <a:pt x="3597" y="1046"/>
                </a:cubicBezTo>
                <a:cubicBezTo>
                  <a:pt x="3586" y="990"/>
                  <a:pt x="3586" y="990"/>
                  <a:pt x="3586" y="990"/>
                </a:cubicBezTo>
                <a:cubicBezTo>
                  <a:pt x="3586" y="990"/>
                  <a:pt x="3569" y="1010"/>
                  <a:pt x="3562" y="1021"/>
                </a:cubicBezTo>
                <a:cubicBezTo>
                  <a:pt x="3556" y="1032"/>
                  <a:pt x="3564" y="1070"/>
                  <a:pt x="3564" y="1070"/>
                </a:cubicBezTo>
                <a:cubicBezTo>
                  <a:pt x="3553" y="1070"/>
                  <a:pt x="3553" y="1070"/>
                  <a:pt x="3553" y="1070"/>
                </a:cubicBezTo>
                <a:cubicBezTo>
                  <a:pt x="3553" y="1070"/>
                  <a:pt x="3555" y="1117"/>
                  <a:pt x="3548" y="1129"/>
                </a:cubicBezTo>
                <a:cubicBezTo>
                  <a:pt x="3542" y="1142"/>
                  <a:pt x="3526" y="1153"/>
                  <a:pt x="3542" y="1154"/>
                </a:cubicBezTo>
                <a:close/>
                <a:moveTo>
                  <a:pt x="3710" y="1117"/>
                </a:moveTo>
                <a:cubicBezTo>
                  <a:pt x="3728" y="1117"/>
                  <a:pt x="3730" y="1101"/>
                  <a:pt x="3721" y="1099"/>
                </a:cubicBezTo>
                <a:cubicBezTo>
                  <a:pt x="3711" y="1098"/>
                  <a:pt x="3703" y="1106"/>
                  <a:pt x="3703" y="1106"/>
                </a:cubicBezTo>
                <a:cubicBezTo>
                  <a:pt x="3689" y="1098"/>
                  <a:pt x="3689" y="1098"/>
                  <a:pt x="3689" y="1098"/>
                </a:cubicBezTo>
                <a:cubicBezTo>
                  <a:pt x="3689" y="1098"/>
                  <a:pt x="3691" y="1117"/>
                  <a:pt x="3710" y="1117"/>
                </a:cubicBezTo>
                <a:close/>
                <a:moveTo>
                  <a:pt x="3487" y="1272"/>
                </a:moveTo>
                <a:cubicBezTo>
                  <a:pt x="3487" y="1261"/>
                  <a:pt x="3484" y="1248"/>
                  <a:pt x="3484" y="1248"/>
                </a:cubicBezTo>
                <a:cubicBezTo>
                  <a:pt x="3484" y="1248"/>
                  <a:pt x="3479" y="1273"/>
                  <a:pt x="3464" y="1272"/>
                </a:cubicBezTo>
                <a:cubicBezTo>
                  <a:pt x="3464" y="1272"/>
                  <a:pt x="3487" y="1283"/>
                  <a:pt x="3487" y="1272"/>
                </a:cubicBezTo>
                <a:close/>
                <a:moveTo>
                  <a:pt x="3158" y="849"/>
                </a:moveTo>
                <a:cubicBezTo>
                  <a:pt x="3163" y="838"/>
                  <a:pt x="3155" y="827"/>
                  <a:pt x="3142" y="828"/>
                </a:cubicBezTo>
                <a:cubicBezTo>
                  <a:pt x="3124" y="831"/>
                  <a:pt x="3153" y="860"/>
                  <a:pt x="3158" y="849"/>
                </a:cubicBezTo>
                <a:close/>
                <a:moveTo>
                  <a:pt x="3360" y="825"/>
                </a:moveTo>
                <a:cubicBezTo>
                  <a:pt x="3351" y="808"/>
                  <a:pt x="3330" y="791"/>
                  <a:pt x="3330" y="820"/>
                </a:cubicBezTo>
                <a:cubicBezTo>
                  <a:pt x="3330" y="820"/>
                  <a:pt x="3370" y="842"/>
                  <a:pt x="3360" y="825"/>
                </a:cubicBezTo>
                <a:close/>
                <a:moveTo>
                  <a:pt x="3511" y="1344"/>
                </a:moveTo>
                <a:cubicBezTo>
                  <a:pt x="3501" y="1337"/>
                  <a:pt x="3476" y="1345"/>
                  <a:pt x="3476" y="1345"/>
                </a:cubicBezTo>
                <a:cubicBezTo>
                  <a:pt x="3476" y="1345"/>
                  <a:pt x="3478" y="1350"/>
                  <a:pt x="3489" y="1361"/>
                </a:cubicBezTo>
                <a:cubicBezTo>
                  <a:pt x="3500" y="1372"/>
                  <a:pt x="3511" y="1344"/>
                  <a:pt x="3511" y="1344"/>
                </a:cubicBezTo>
                <a:close/>
                <a:moveTo>
                  <a:pt x="3012" y="1693"/>
                </a:moveTo>
                <a:cubicBezTo>
                  <a:pt x="3011" y="1663"/>
                  <a:pt x="3011" y="1663"/>
                  <a:pt x="3011" y="1663"/>
                </a:cubicBezTo>
                <a:cubicBezTo>
                  <a:pt x="2992" y="1681"/>
                  <a:pt x="2992" y="1681"/>
                  <a:pt x="2992" y="1681"/>
                </a:cubicBezTo>
                <a:cubicBezTo>
                  <a:pt x="2998" y="1712"/>
                  <a:pt x="3012" y="1693"/>
                  <a:pt x="3012" y="1693"/>
                </a:cubicBezTo>
                <a:close/>
                <a:moveTo>
                  <a:pt x="3127" y="1435"/>
                </a:moveTo>
                <a:cubicBezTo>
                  <a:pt x="3114" y="1421"/>
                  <a:pt x="3119" y="1425"/>
                  <a:pt x="3105" y="1435"/>
                </a:cubicBezTo>
                <a:cubicBezTo>
                  <a:pt x="3119" y="1457"/>
                  <a:pt x="3119" y="1457"/>
                  <a:pt x="3119" y="1457"/>
                </a:cubicBezTo>
                <a:cubicBezTo>
                  <a:pt x="3119" y="1457"/>
                  <a:pt x="3139" y="1449"/>
                  <a:pt x="3127" y="1435"/>
                </a:cubicBezTo>
                <a:close/>
                <a:moveTo>
                  <a:pt x="3233" y="1524"/>
                </a:moveTo>
                <a:cubicBezTo>
                  <a:pt x="3233" y="1516"/>
                  <a:pt x="3225" y="1504"/>
                  <a:pt x="3225" y="1504"/>
                </a:cubicBezTo>
                <a:cubicBezTo>
                  <a:pt x="3225" y="1504"/>
                  <a:pt x="3202" y="1513"/>
                  <a:pt x="3207" y="1532"/>
                </a:cubicBezTo>
                <a:cubicBezTo>
                  <a:pt x="3207" y="1532"/>
                  <a:pt x="3233" y="1532"/>
                  <a:pt x="3233" y="1524"/>
                </a:cubicBezTo>
                <a:close/>
                <a:moveTo>
                  <a:pt x="3116" y="1569"/>
                </a:moveTo>
                <a:cubicBezTo>
                  <a:pt x="3147" y="1572"/>
                  <a:pt x="3147" y="1572"/>
                  <a:pt x="3147" y="1572"/>
                </a:cubicBezTo>
                <a:cubicBezTo>
                  <a:pt x="3133" y="1527"/>
                  <a:pt x="3116" y="1569"/>
                  <a:pt x="3116" y="1569"/>
                </a:cubicBezTo>
                <a:close/>
                <a:moveTo>
                  <a:pt x="2928" y="1728"/>
                </a:moveTo>
                <a:cubicBezTo>
                  <a:pt x="2973" y="1723"/>
                  <a:pt x="2973" y="1723"/>
                  <a:pt x="2973" y="1723"/>
                </a:cubicBezTo>
                <a:cubicBezTo>
                  <a:pt x="2973" y="1723"/>
                  <a:pt x="2967" y="1685"/>
                  <a:pt x="2951" y="1698"/>
                </a:cubicBezTo>
                <a:cubicBezTo>
                  <a:pt x="2936" y="1710"/>
                  <a:pt x="2917" y="1712"/>
                  <a:pt x="2928" y="1728"/>
                </a:cubicBezTo>
                <a:close/>
                <a:moveTo>
                  <a:pt x="2782" y="1569"/>
                </a:moveTo>
                <a:cubicBezTo>
                  <a:pt x="2765" y="1565"/>
                  <a:pt x="2749" y="1565"/>
                  <a:pt x="2749" y="1565"/>
                </a:cubicBezTo>
                <a:cubicBezTo>
                  <a:pt x="2743" y="1594"/>
                  <a:pt x="2743" y="1594"/>
                  <a:pt x="2743" y="1594"/>
                </a:cubicBezTo>
                <a:cubicBezTo>
                  <a:pt x="2741" y="1604"/>
                  <a:pt x="2741" y="1604"/>
                  <a:pt x="2741" y="1604"/>
                </a:cubicBezTo>
                <a:cubicBezTo>
                  <a:pt x="2791" y="1602"/>
                  <a:pt x="2791" y="1602"/>
                  <a:pt x="2791" y="1602"/>
                </a:cubicBezTo>
                <a:cubicBezTo>
                  <a:pt x="2776" y="1588"/>
                  <a:pt x="2776" y="1588"/>
                  <a:pt x="2776" y="1588"/>
                </a:cubicBezTo>
                <a:cubicBezTo>
                  <a:pt x="2776" y="1588"/>
                  <a:pt x="2799" y="1574"/>
                  <a:pt x="2782" y="1569"/>
                </a:cubicBezTo>
                <a:close/>
                <a:moveTo>
                  <a:pt x="2867" y="1627"/>
                </a:moveTo>
                <a:cubicBezTo>
                  <a:pt x="2860" y="1637"/>
                  <a:pt x="2860" y="1637"/>
                  <a:pt x="2860" y="1637"/>
                </a:cubicBezTo>
                <a:cubicBezTo>
                  <a:pt x="2870" y="1651"/>
                  <a:pt x="2870" y="1651"/>
                  <a:pt x="2870" y="1651"/>
                </a:cubicBezTo>
                <a:cubicBezTo>
                  <a:pt x="2879" y="1635"/>
                  <a:pt x="2879" y="1635"/>
                  <a:pt x="2879" y="1635"/>
                </a:cubicBezTo>
                <a:cubicBezTo>
                  <a:pt x="2879" y="1635"/>
                  <a:pt x="2879" y="1629"/>
                  <a:pt x="2867" y="1627"/>
                </a:cubicBezTo>
                <a:close/>
                <a:moveTo>
                  <a:pt x="2900" y="1602"/>
                </a:moveTo>
                <a:cubicBezTo>
                  <a:pt x="2937" y="1604"/>
                  <a:pt x="2937" y="1604"/>
                  <a:pt x="2937" y="1604"/>
                </a:cubicBezTo>
                <a:cubicBezTo>
                  <a:pt x="2937" y="1604"/>
                  <a:pt x="2929" y="1585"/>
                  <a:pt x="2918" y="1585"/>
                </a:cubicBezTo>
                <a:cubicBezTo>
                  <a:pt x="2907" y="1585"/>
                  <a:pt x="2900" y="1602"/>
                  <a:pt x="2900" y="1602"/>
                </a:cubicBezTo>
                <a:close/>
                <a:moveTo>
                  <a:pt x="2602" y="648"/>
                </a:moveTo>
                <a:cubicBezTo>
                  <a:pt x="2614" y="657"/>
                  <a:pt x="2614" y="657"/>
                  <a:pt x="2614" y="657"/>
                </a:cubicBezTo>
                <a:cubicBezTo>
                  <a:pt x="2614" y="657"/>
                  <a:pt x="2633" y="651"/>
                  <a:pt x="2624" y="645"/>
                </a:cubicBezTo>
                <a:cubicBezTo>
                  <a:pt x="2614" y="639"/>
                  <a:pt x="2616" y="628"/>
                  <a:pt x="2608" y="628"/>
                </a:cubicBezTo>
                <a:cubicBezTo>
                  <a:pt x="2600" y="628"/>
                  <a:pt x="2582" y="631"/>
                  <a:pt x="2582" y="631"/>
                </a:cubicBezTo>
                <a:cubicBezTo>
                  <a:pt x="2569" y="623"/>
                  <a:pt x="2569" y="623"/>
                  <a:pt x="2569" y="623"/>
                </a:cubicBezTo>
                <a:cubicBezTo>
                  <a:pt x="2572" y="654"/>
                  <a:pt x="2572" y="654"/>
                  <a:pt x="2572" y="654"/>
                </a:cubicBezTo>
                <a:lnTo>
                  <a:pt x="2602" y="648"/>
                </a:lnTo>
                <a:close/>
                <a:moveTo>
                  <a:pt x="2577" y="704"/>
                </a:moveTo>
                <a:cubicBezTo>
                  <a:pt x="2600" y="719"/>
                  <a:pt x="2600" y="719"/>
                  <a:pt x="2600" y="719"/>
                </a:cubicBezTo>
                <a:cubicBezTo>
                  <a:pt x="2605" y="692"/>
                  <a:pt x="2605" y="692"/>
                  <a:pt x="2605" y="692"/>
                </a:cubicBezTo>
                <a:cubicBezTo>
                  <a:pt x="2618" y="698"/>
                  <a:pt x="2618" y="698"/>
                  <a:pt x="2618" y="698"/>
                </a:cubicBezTo>
                <a:cubicBezTo>
                  <a:pt x="2635" y="692"/>
                  <a:pt x="2635" y="692"/>
                  <a:pt x="2635" y="692"/>
                </a:cubicBezTo>
                <a:cubicBezTo>
                  <a:pt x="2635" y="692"/>
                  <a:pt x="2650" y="706"/>
                  <a:pt x="2655" y="697"/>
                </a:cubicBezTo>
                <a:cubicBezTo>
                  <a:pt x="2660" y="687"/>
                  <a:pt x="2655" y="665"/>
                  <a:pt x="2655" y="665"/>
                </a:cubicBezTo>
                <a:cubicBezTo>
                  <a:pt x="2655" y="665"/>
                  <a:pt x="2691" y="668"/>
                  <a:pt x="2666" y="657"/>
                </a:cubicBezTo>
                <a:cubicBezTo>
                  <a:pt x="2641" y="646"/>
                  <a:pt x="2638" y="650"/>
                  <a:pt x="2633" y="656"/>
                </a:cubicBezTo>
                <a:cubicBezTo>
                  <a:pt x="2629" y="662"/>
                  <a:pt x="2630" y="672"/>
                  <a:pt x="2630" y="672"/>
                </a:cubicBezTo>
                <a:cubicBezTo>
                  <a:pt x="2600" y="665"/>
                  <a:pt x="2600" y="665"/>
                  <a:pt x="2600" y="665"/>
                </a:cubicBezTo>
                <a:cubicBezTo>
                  <a:pt x="2600" y="665"/>
                  <a:pt x="2600" y="679"/>
                  <a:pt x="2594" y="676"/>
                </a:cubicBezTo>
                <a:cubicBezTo>
                  <a:pt x="2588" y="673"/>
                  <a:pt x="2566" y="667"/>
                  <a:pt x="2566" y="667"/>
                </a:cubicBezTo>
                <a:cubicBezTo>
                  <a:pt x="2564" y="684"/>
                  <a:pt x="2564" y="684"/>
                  <a:pt x="2564" y="684"/>
                </a:cubicBezTo>
                <a:cubicBezTo>
                  <a:pt x="2580" y="684"/>
                  <a:pt x="2580" y="684"/>
                  <a:pt x="2580" y="684"/>
                </a:cubicBezTo>
                <a:lnTo>
                  <a:pt x="2577" y="704"/>
                </a:lnTo>
                <a:close/>
                <a:moveTo>
                  <a:pt x="2655" y="740"/>
                </a:moveTo>
                <a:cubicBezTo>
                  <a:pt x="2655" y="740"/>
                  <a:pt x="2680" y="753"/>
                  <a:pt x="2680" y="742"/>
                </a:cubicBezTo>
                <a:cubicBezTo>
                  <a:pt x="2680" y="731"/>
                  <a:pt x="2676" y="725"/>
                  <a:pt x="2676" y="725"/>
                </a:cubicBezTo>
                <a:cubicBezTo>
                  <a:pt x="2676" y="725"/>
                  <a:pt x="2665" y="740"/>
                  <a:pt x="2655" y="740"/>
                </a:cubicBezTo>
                <a:close/>
                <a:moveTo>
                  <a:pt x="2735" y="773"/>
                </a:moveTo>
                <a:cubicBezTo>
                  <a:pt x="2730" y="764"/>
                  <a:pt x="2705" y="759"/>
                  <a:pt x="2696" y="781"/>
                </a:cubicBezTo>
                <a:cubicBezTo>
                  <a:pt x="2721" y="792"/>
                  <a:pt x="2721" y="792"/>
                  <a:pt x="2721" y="792"/>
                </a:cubicBezTo>
                <a:cubicBezTo>
                  <a:pt x="2721" y="792"/>
                  <a:pt x="2740" y="783"/>
                  <a:pt x="2735" y="773"/>
                </a:cubicBezTo>
                <a:close/>
                <a:moveTo>
                  <a:pt x="2749" y="755"/>
                </a:moveTo>
                <a:cubicBezTo>
                  <a:pt x="2737" y="797"/>
                  <a:pt x="2737" y="797"/>
                  <a:pt x="2737" y="797"/>
                </a:cubicBezTo>
                <a:cubicBezTo>
                  <a:pt x="2752" y="792"/>
                  <a:pt x="2760" y="781"/>
                  <a:pt x="2768" y="781"/>
                </a:cubicBezTo>
                <a:cubicBezTo>
                  <a:pt x="2776" y="781"/>
                  <a:pt x="2749" y="755"/>
                  <a:pt x="2749" y="755"/>
                </a:cubicBezTo>
                <a:close/>
                <a:moveTo>
                  <a:pt x="2810" y="750"/>
                </a:moveTo>
                <a:cubicBezTo>
                  <a:pt x="2807" y="739"/>
                  <a:pt x="2807" y="739"/>
                  <a:pt x="2807" y="739"/>
                </a:cubicBezTo>
                <a:cubicBezTo>
                  <a:pt x="2807" y="739"/>
                  <a:pt x="2779" y="753"/>
                  <a:pt x="2784" y="777"/>
                </a:cubicBezTo>
                <a:cubicBezTo>
                  <a:pt x="2804" y="787"/>
                  <a:pt x="2804" y="787"/>
                  <a:pt x="2804" y="787"/>
                </a:cubicBezTo>
                <a:cubicBezTo>
                  <a:pt x="2804" y="787"/>
                  <a:pt x="2849" y="778"/>
                  <a:pt x="2843" y="764"/>
                </a:cubicBezTo>
                <a:cubicBezTo>
                  <a:pt x="2837" y="750"/>
                  <a:pt x="2810" y="750"/>
                  <a:pt x="2810" y="750"/>
                </a:cubicBezTo>
                <a:close/>
                <a:moveTo>
                  <a:pt x="2907" y="769"/>
                </a:moveTo>
                <a:cubicBezTo>
                  <a:pt x="2907" y="758"/>
                  <a:pt x="2903" y="734"/>
                  <a:pt x="2903" y="734"/>
                </a:cubicBezTo>
                <a:cubicBezTo>
                  <a:pt x="2881" y="751"/>
                  <a:pt x="2881" y="751"/>
                  <a:pt x="2881" y="751"/>
                </a:cubicBezTo>
                <a:cubicBezTo>
                  <a:pt x="2881" y="751"/>
                  <a:pt x="2873" y="742"/>
                  <a:pt x="2862" y="751"/>
                </a:cubicBezTo>
                <a:cubicBezTo>
                  <a:pt x="2851" y="761"/>
                  <a:pt x="2849" y="772"/>
                  <a:pt x="2860" y="783"/>
                </a:cubicBezTo>
                <a:cubicBezTo>
                  <a:pt x="2878" y="801"/>
                  <a:pt x="2907" y="780"/>
                  <a:pt x="2907" y="769"/>
                </a:cubicBezTo>
                <a:close/>
                <a:moveTo>
                  <a:pt x="2762" y="833"/>
                </a:moveTo>
                <a:cubicBezTo>
                  <a:pt x="2774" y="839"/>
                  <a:pt x="2773" y="819"/>
                  <a:pt x="2773" y="819"/>
                </a:cubicBezTo>
                <a:cubicBezTo>
                  <a:pt x="2737" y="816"/>
                  <a:pt x="2749" y="827"/>
                  <a:pt x="2762" y="833"/>
                </a:cubicBezTo>
                <a:close/>
                <a:moveTo>
                  <a:pt x="2616" y="755"/>
                </a:moveTo>
                <a:cubicBezTo>
                  <a:pt x="2624" y="742"/>
                  <a:pt x="2624" y="742"/>
                  <a:pt x="2624" y="742"/>
                </a:cubicBezTo>
                <a:cubicBezTo>
                  <a:pt x="2600" y="742"/>
                  <a:pt x="2600" y="742"/>
                  <a:pt x="2600" y="742"/>
                </a:cubicBezTo>
                <a:lnTo>
                  <a:pt x="2616" y="755"/>
                </a:lnTo>
                <a:close/>
                <a:moveTo>
                  <a:pt x="2740" y="731"/>
                </a:moveTo>
                <a:cubicBezTo>
                  <a:pt x="2751" y="742"/>
                  <a:pt x="2766" y="731"/>
                  <a:pt x="2766" y="731"/>
                </a:cubicBezTo>
                <a:cubicBezTo>
                  <a:pt x="2766" y="731"/>
                  <a:pt x="2787" y="734"/>
                  <a:pt x="2791" y="731"/>
                </a:cubicBezTo>
                <a:cubicBezTo>
                  <a:pt x="2796" y="728"/>
                  <a:pt x="2781" y="720"/>
                  <a:pt x="2781" y="720"/>
                </a:cubicBezTo>
                <a:cubicBezTo>
                  <a:pt x="2795" y="706"/>
                  <a:pt x="2795" y="706"/>
                  <a:pt x="2795" y="706"/>
                </a:cubicBezTo>
                <a:cubicBezTo>
                  <a:pt x="2781" y="706"/>
                  <a:pt x="2781" y="706"/>
                  <a:pt x="2781" y="706"/>
                </a:cubicBezTo>
                <a:cubicBezTo>
                  <a:pt x="2762" y="687"/>
                  <a:pt x="2762" y="687"/>
                  <a:pt x="2762" y="687"/>
                </a:cubicBezTo>
                <a:cubicBezTo>
                  <a:pt x="2748" y="686"/>
                  <a:pt x="2748" y="686"/>
                  <a:pt x="2748" y="686"/>
                </a:cubicBezTo>
                <a:cubicBezTo>
                  <a:pt x="2735" y="675"/>
                  <a:pt x="2735" y="675"/>
                  <a:pt x="2735" y="675"/>
                </a:cubicBezTo>
                <a:cubicBezTo>
                  <a:pt x="2733" y="695"/>
                  <a:pt x="2733" y="695"/>
                  <a:pt x="2733" y="695"/>
                </a:cubicBezTo>
                <a:cubicBezTo>
                  <a:pt x="2710" y="692"/>
                  <a:pt x="2710" y="692"/>
                  <a:pt x="2710" y="692"/>
                </a:cubicBezTo>
                <a:cubicBezTo>
                  <a:pt x="2708" y="708"/>
                  <a:pt x="2740" y="731"/>
                  <a:pt x="2740" y="731"/>
                </a:cubicBezTo>
                <a:close/>
                <a:moveTo>
                  <a:pt x="2785" y="667"/>
                </a:moveTo>
                <a:cubicBezTo>
                  <a:pt x="2799" y="673"/>
                  <a:pt x="2818" y="684"/>
                  <a:pt x="2818" y="684"/>
                </a:cubicBezTo>
                <a:cubicBezTo>
                  <a:pt x="2818" y="684"/>
                  <a:pt x="2817" y="651"/>
                  <a:pt x="2804" y="648"/>
                </a:cubicBezTo>
                <a:cubicBezTo>
                  <a:pt x="2791" y="645"/>
                  <a:pt x="2788" y="656"/>
                  <a:pt x="2788" y="656"/>
                </a:cubicBezTo>
                <a:cubicBezTo>
                  <a:pt x="2759" y="662"/>
                  <a:pt x="2759" y="662"/>
                  <a:pt x="2759" y="662"/>
                </a:cubicBezTo>
                <a:cubicBezTo>
                  <a:pt x="2784" y="690"/>
                  <a:pt x="2784" y="690"/>
                  <a:pt x="2784" y="690"/>
                </a:cubicBezTo>
                <a:cubicBezTo>
                  <a:pt x="2784" y="690"/>
                  <a:pt x="2771" y="661"/>
                  <a:pt x="2785" y="667"/>
                </a:cubicBezTo>
                <a:close/>
                <a:moveTo>
                  <a:pt x="2843" y="720"/>
                </a:moveTo>
                <a:cubicBezTo>
                  <a:pt x="2821" y="714"/>
                  <a:pt x="2821" y="736"/>
                  <a:pt x="2821" y="736"/>
                </a:cubicBezTo>
                <a:cubicBezTo>
                  <a:pt x="2835" y="737"/>
                  <a:pt x="2865" y="726"/>
                  <a:pt x="2843" y="720"/>
                </a:cubicBezTo>
                <a:close/>
                <a:moveTo>
                  <a:pt x="2907" y="683"/>
                </a:moveTo>
                <a:cubicBezTo>
                  <a:pt x="2912" y="670"/>
                  <a:pt x="2901" y="650"/>
                  <a:pt x="2884" y="667"/>
                </a:cubicBezTo>
                <a:cubicBezTo>
                  <a:pt x="2880" y="670"/>
                  <a:pt x="2903" y="695"/>
                  <a:pt x="2907" y="683"/>
                </a:cubicBezTo>
                <a:close/>
                <a:moveTo>
                  <a:pt x="2845" y="637"/>
                </a:moveTo>
                <a:cubicBezTo>
                  <a:pt x="2838" y="628"/>
                  <a:pt x="2829" y="621"/>
                  <a:pt x="2828" y="640"/>
                </a:cubicBezTo>
                <a:cubicBezTo>
                  <a:pt x="2828" y="640"/>
                  <a:pt x="2851" y="646"/>
                  <a:pt x="2845" y="637"/>
                </a:cubicBezTo>
                <a:close/>
                <a:moveTo>
                  <a:pt x="2309" y="1808"/>
                </a:moveTo>
                <a:cubicBezTo>
                  <a:pt x="2309" y="1806"/>
                  <a:pt x="2309" y="1806"/>
                  <a:pt x="2309" y="1806"/>
                </a:cubicBezTo>
                <a:cubicBezTo>
                  <a:pt x="2309" y="1807"/>
                  <a:pt x="2309" y="1808"/>
                  <a:pt x="2309" y="1808"/>
                </a:cubicBezTo>
                <a:close/>
                <a:moveTo>
                  <a:pt x="2334" y="1806"/>
                </a:moveTo>
                <a:cubicBezTo>
                  <a:pt x="2343" y="1792"/>
                  <a:pt x="2343" y="1792"/>
                  <a:pt x="2343" y="1792"/>
                </a:cubicBezTo>
                <a:cubicBezTo>
                  <a:pt x="2343" y="1792"/>
                  <a:pt x="2323" y="1775"/>
                  <a:pt x="2323" y="1764"/>
                </a:cubicBezTo>
                <a:cubicBezTo>
                  <a:pt x="2323" y="1753"/>
                  <a:pt x="2310" y="1724"/>
                  <a:pt x="2310" y="1724"/>
                </a:cubicBezTo>
                <a:cubicBezTo>
                  <a:pt x="2307" y="1737"/>
                  <a:pt x="2307" y="1737"/>
                  <a:pt x="2307" y="1737"/>
                </a:cubicBezTo>
                <a:cubicBezTo>
                  <a:pt x="2296" y="1734"/>
                  <a:pt x="2296" y="1734"/>
                  <a:pt x="2296" y="1734"/>
                </a:cubicBezTo>
                <a:cubicBezTo>
                  <a:pt x="2292" y="1771"/>
                  <a:pt x="2292" y="1771"/>
                  <a:pt x="2292" y="1771"/>
                </a:cubicBezTo>
                <a:cubicBezTo>
                  <a:pt x="2310" y="1786"/>
                  <a:pt x="2310" y="1786"/>
                  <a:pt x="2310" y="1786"/>
                </a:cubicBezTo>
                <a:cubicBezTo>
                  <a:pt x="2309" y="1806"/>
                  <a:pt x="2309" y="1806"/>
                  <a:pt x="2309" y="1806"/>
                </a:cubicBezTo>
                <a:cubicBezTo>
                  <a:pt x="2310" y="1803"/>
                  <a:pt x="2313" y="1797"/>
                  <a:pt x="2334" y="1806"/>
                </a:cubicBezTo>
                <a:close/>
                <a:moveTo>
                  <a:pt x="1969" y="1693"/>
                </a:moveTo>
                <a:cubicBezTo>
                  <a:pt x="1991" y="1693"/>
                  <a:pt x="1991" y="1693"/>
                  <a:pt x="1991" y="1693"/>
                </a:cubicBezTo>
                <a:cubicBezTo>
                  <a:pt x="1991" y="1693"/>
                  <a:pt x="1989" y="1640"/>
                  <a:pt x="1974" y="1638"/>
                </a:cubicBezTo>
                <a:cubicBezTo>
                  <a:pt x="1958" y="1637"/>
                  <a:pt x="1887" y="1646"/>
                  <a:pt x="1927" y="1693"/>
                </a:cubicBezTo>
                <a:cubicBezTo>
                  <a:pt x="1945" y="1715"/>
                  <a:pt x="1969" y="1693"/>
                  <a:pt x="1969" y="1693"/>
                </a:cubicBezTo>
                <a:close/>
                <a:moveTo>
                  <a:pt x="2182" y="1529"/>
                </a:moveTo>
                <a:cubicBezTo>
                  <a:pt x="2201" y="1536"/>
                  <a:pt x="2201" y="1536"/>
                  <a:pt x="2201" y="1536"/>
                </a:cubicBezTo>
                <a:cubicBezTo>
                  <a:pt x="2212" y="1557"/>
                  <a:pt x="2212" y="1557"/>
                  <a:pt x="2212" y="1557"/>
                </a:cubicBezTo>
                <a:cubicBezTo>
                  <a:pt x="2199" y="1568"/>
                  <a:pt x="2199" y="1568"/>
                  <a:pt x="2199" y="1568"/>
                </a:cubicBezTo>
                <a:cubicBezTo>
                  <a:pt x="2199" y="1568"/>
                  <a:pt x="2207" y="1580"/>
                  <a:pt x="2207" y="1588"/>
                </a:cubicBezTo>
                <a:cubicBezTo>
                  <a:pt x="2207" y="1596"/>
                  <a:pt x="2182" y="1594"/>
                  <a:pt x="2180" y="1604"/>
                </a:cubicBezTo>
                <a:cubicBezTo>
                  <a:pt x="2179" y="1613"/>
                  <a:pt x="2195" y="1626"/>
                  <a:pt x="2204" y="1630"/>
                </a:cubicBezTo>
                <a:cubicBezTo>
                  <a:pt x="2213" y="1635"/>
                  <a:pt x="2216" y="1654"/>
                  <a:pt x="2216" y="1654"/>
                </a:cubicBezTo>
                <a:cubicBezTo>
                  <a:pt x="2227" y="1635"/>
                  <a:pt x="2227" y="1635"/>
                  <a:pt x="2227" y="1635"/>
                </a:cubicBezTo>
                <a:cubicBezTo>
                  <a:pt x="2234" y="1654"/>
                  <a:pt x="2234" y="1654"/>
                  <a:pt x="2234" y="1654"/>
                </a:cubicBezTo>
                <a:cubicBezTo>
                  <a:pt x="2252" y="1656"/>
                  <a:pt x="2252" y="1656"/>
                  <a:pt x="2252" y="1656"/>
                </a:cubicBezTo>
                <a:cubicBezTo>
                  <a:pt x="2248" y="1671"/>
                  <a:pt x="2248" y="1671"/>
                  <a:pt x="2248" y="1671"/>
                </a:cubicBezTo>
                <a:cubicBezTo>
                  <a:pt x="2262" y="1670"/>
                  <a:pt x="2262" y="1670"/>
                  <a:pt x="2262" y="1670"/>
                </a:cubicBezTo>
                <a:cubicBezTo>
                  <a:pt x="2263" y="1685"/>
                  <a:pt x="2263" y="1685"/>
                  <a:pt x="2263" y="1685"/>
                </a:cubicBezTo>
                <a:cubicBezTo>
                  <a:pt x="2282" y="1685"/>
                  <a:pt x="2282" y="1685"/>
                  <a:pt x="2282" y="1685"/>
                </a:cubicBezTo>
                <a:cubicBezTo>
                  <a:pt x="2260" y="1649"/>
                  <a:pt x="2279" y="1544"/>
                  <a:pt x="2279" y="1544"/>
                </a:cubicBezTo>
                <a:cubicBezTo>
                  <a:pt x="2274" y="1530"/>
                  <a:pt x="2274" y="1530"/>
                  <a:pt x="2274" y="1530"/>
                </a:cubicBezTo>
                <a:cubicBezTo>
                  <a:pt x="2307" y="1485"/>
                  <a:pt x="2307" y="1485"/>
                  <a:pt x="2307" y="1485"/>
                </a:cubicBezTo>
                <a:cubicBezTo>
                  <a:pt x="2307" y="1485"/>
                  <a:pt x="2317" y="1483"/>
                  <a:pt x="2331" y="1478"/>
                </a:cubicBezTo>
                <a:cubicBezTo>
                  <a:pt x="2345" y="1474"/>
                  <a:pt x="2325" y="1457"/>
                  <a:pt x="2325" y="1457"/>
                </a:cubicBezTo>
                <a:cubicBezTo>
                  <a:pt x="2325" y="1457"/>
                  <a:pt x="2342" y="1464"/>
                  <a:pt x="2348" y="1464"/>
                </a:cubicBezTo>
                <a:cubicBezTo>
                  <a:pt x="2354" y="1464"/>
                  <a:pt x="2345" y="1447"/>
                  <a:pt x="2345" y="1447"/>
                </a:cubicBezTo>
                <a:cubicBezTo>
                  <a:pt x="2345" y="1447"/>
                  <a:pt x="2373" y="1441"/>
                  <a:pt x="2373" y="1436"/>
                </a:cubicBezTo>
                <a:cubicBezTo>
                  <a:pt x="2373" y="1431"/>
                  <a:pt x="2345" y="1405"/>
                  <a:pt x="2345" y="1405"/>
                </a:cubicBezTo>
                <a:cubicBezTo>
                  <a:pt x="2326" y="1392"/>
                  <a:pt x="2326" y="1392"/>
                  <a:pt x="2326" y="1392"/>
                </a:cubicBezTo>
                <a:cubicBezTo>
                  <a:pt x="2326" y="1392"/>
                  <a:pt x="2299" y="1388"/>
                  <a:pt x="2289" y="1389"/>
                </a:cubicBezTo>
                <a:cubicBezTo>
                  <a:pt x="2278" y="1391"/>
                  <a:pt x="2287" y="1406"/>
                  <a:pt x="2276" y="1414"/>
                </a:cubicBezTo>
                <a:cubicBezTo>
                  <a:pt x="2265" y="1422"/>
                  <a:pt x="2237" y="1416"/>
                  <a:pt x="2237" y="1416"/>
                </a:cubicBezTo>
                <a:cubicBezTo>
                  <a:pt x="2252" y="1435"/>
                  <a:pt x="2252" y="1435"/>
                  <a:pt x="2252" y="1435"/>
                </a:cubicBezTo>
                <a:cubicBezTo>
                  <a:pt x="2252" y="1435"/>
                  <a:pt x="2213" y="1477"/>
                  <a:pt x="2202" y="1477"/>
                </a:cubicBezTo>
                <a:cubicBezTo>
                  <a:pt x="2191" y="1477"/>
                  <a:pt x="2199" y="1463"/>
                  <a:pt x="2195" y="1460"/>
                </a:cubicBezTo>
                <a:cubicBezTo>
                  <a:pt x="2190" y="1457"/>
                  <a:pt x="2165" y="1491"/>
                  <a:pt x="2160" y="1511"/>
                </a:cubicBezTo>
                <a:cubicBezTo>
                  <a:pt x="2155" y="1532"/>
                  <a:pt x="2182" y="1529"/>
                  <a:pt x="2182" y="1529"/>
                </a:cubicBezTo>
                <a:close/>
                <a:moveTo>
                  <a:pt x="2331" y="1375"/>
                </a:moveTo>
                <a:cubicBezTo>
                  <a:pt x="2332" y="1383"/>
                  <a:pt x="2368" y="1419"/>
                  <a:pt x="2387" y="1433"/>
                </a:cubicBezTo>
                <a:cubicBezTo>
                  <a:pt x="2387" y="1433"/>
                  <a:pt x="2400" y="1414"/>
                  <a:pt x="2400" y="1408"/>
                </a:cubicBezTo>
                <a:cubicBezTo>
                  <a:pt x="2400" y="1402"/>
                  <a:pt x="2415" y="1410"/>
                  <a:pt x="2415" y="1410"/>
                </a:cubicBezTo>
                <a:cubicBezTo>
                  <a:pt x="2423" y="1388"/>
                  <a:pt x="2423" y="1388"/>
                  <a:pt x="2423" y="1388"/>
                </a:cubicBezTo>
                <a:cubicBezTo>
                  <a:pt x="2423" y="1388"/>
                  <a:pt x="2436" y="1411"/>
                  <a:pt x="2436" y="1403"/>
                </a:cubicBezTo>
                <a:cubicBezTo>
                  <a:pt x="2436" y="1395"/>
                  <a:pt x="2444" y="1355"/>
                  <a:pt x="2444" y="1355"/>
                </a:cubicBezTo>
                <a:cubicBezTo>
                  <a:pt x="2444" y="1355"/>
                  <a:pt x="2447" y="1388"/>
                  <a:pt x="2451" y="1388"/>
                </a:cubicBezTo>
                <a:cubicBezTo>
                  <a:pt x="2456" y="1388"/>
                  <a:pt x="2478" y="1374"/>
                  <a:pt x="2478" y="1369"/>
                </a:cubicBezTo>
                <a:cubicBezTo>
                  <a:pt x="2478" y="1364"/>
                  <a:pt x="2467" y="1330"/>
                  <a:pt x="2478" y="1339"/>
                </a:cubicBezTo>
                <a:cubicBezTo>
                  <a:pt x="2489" y="1348"/>
                  <a:pt x="2484" y="1358"/>
                  <a:pt x="2500" y="1350"/>
                </a:cubicBezTo>
                <a:cubicBezTo>
                  <a:pt x="2516" y="1342"/>
                  <a:pt x="2516" y="1342"/>
                  <a:pt x="2516" y="1342"/>
                </a:cubicBezTo>
                <a:cubicBezTo>
                  <a:pt x="2516" y="1342"/>
                  <a:pt x="2531" y="1358"/>
                  <a:pt x="2541" y="1339"/>
                </a:cubicBezTo>
                <a:cubicBezTo>
                  <a:pt x="2550" y="1320"/>
                  <a:pt x="2552" y="1312"/>
                  <a:pt x="2552" y="1312"/>
                </a:cubicBezTo>
                <a:cubicBezTo>
                  <a:pt x="2552" y="1312"/>
                  <a:pt x="2592" y="1286"/>
                  <a:pt x="2635" y="1290"/>
                </a:cubicBezTo>
                <a:cubicBezTo>
                  <a:pt x="2677" y="1295"/>
                  <a:pt x="2791" y="1270"/>
                  <a:pt x="2807" y="1248"/>
                </a:cubicBezTo>
                <a:cubicBezTo>
                  <a:pt x="2823" y="1226"/>
                  <a:pt x="2831" y="1189"/>
                  <a:pt x="2806" y="1190"/>
                </a:cubicBezTo>
                <a:cubicBezTo>
                  <a:pt x="2781" y="1192"/>
                  <a:pt x="2748" y="1222"/>
                  <a:pt x="2748" y="1222"/>
                </a:cubicBezTo>
                <a:cubicBezTo>
                  <a:pt x="2719" y="1218"/>
                  <a:pt x="2719" y="1218"/>
                  <a:pt x="2719" y="1218"/>
                </a:cubicBezTo>
                <a:cubicBezTo>
                  <a:pt x="2707" y="1231"/>
                  <a:pt x="2707" y="1231"/>
                  <a:pt x="2707" y="1231"/>
                </a:cubicBezTo>
                <a:cubicBezTo>
                  <a:pt x="2661" y="1225"/>
                  <a:pt x="2661" y="1225"/>
                  <a:pt x="2661" y="1225"/>
                </a:cubicBezTo>
                <a:cubicBezTo>
                  <a:pt x="2661" y="1225"/>
                  <a:pt x="2639" y="1190"/>
                  <a:pt x="2630" y="1203"/>
                </a:cubicBezTo>
                <a:cubicBezTo>
                  <a:pt x="2621" y="1215"/>
                  <a:pt x="2611" y="1223"/>
                  <a:pt x="2611" y="1223"/>
                </a:cubicBezTo>
                <a:cubicBezTo>
                  <a:pt x="2563" y="1222"/>
                  <a:pt x="2563" y="1222"/>
                  <a:pt x="2563" y="1222"/>
                </a:cubicBezTo>
                <a:cubicBezTo>
                  <a:pt x="2563" y="1222"/>
                  <a:pt x="2566" y="1214"/>
                  <a:pt x="2561" y="1214"/>
                </a:cubicBezTo>
                <a:cubicBezTo>
                  <a:pt x="2556" y="1214"/>
                  <a:pt x="2519" y="1225"/>
                  <a:pt x="2519" y="1225"/>
                </a:cubicBezTo>
                <a:cubicBezTo>
                  <a:pt x="2500" y="1259"/>
                  <a:pt x="2500" y="1259"/>
                  <a:pt x="2500" y="1259"/>
                </a:cubicBezTo>
                <a:cubicBezTo>
                  <a:pt x="2488" y="1247"/>
                  <a:pt x="2488" y="1247"/>
                  <a:pt x="2488" y="1247"/>
                </a:cubicBezTo>
                <a:cubicBezTo>
                  <a:pt x="2466" y="1264"/>
                  <a:pt x="2466" y="1264"/>
                  <a:pt x="2466" y="1264"/>
                </a:cubicBezTo>
                <a:cubicBezTo>
                  <a:pt x="2451" y="1248"/>
                  <a:pt x="2451" y="1248"/>
                  <a:pt x="2451" y="1248"/>
                </a:cubicBezTo>
                <a:cubicBezTo>
                  <a:pt x="2448" y="1278"/>
                  <a:pt x="2448" y="1278"/>
                  <a:pt x="2448" y="1278"/>
                </a:cubicBezTo>
                <a:cubicBezTo>
                  <a:pt x="2431" y="1281"/>
                  <a:pt x="2431" y="1281"/>
                  <a:pt x="2431" y="1281"/>
                </a:cubicBezTo>
                <a:cubicBezTo>
                  <a:pt x="2451" y="1308"/>
                  <a:pt x="2451" y="1308"/>
                  <a:pt x="2451" y="1308"/>
                </a:cubicBezTo>
                <a:cubicBezTo>
                  <a:pt x="2425" y="1294"/>
                  <a:pt x="2425" y="1294"/>
                  <a:pt x="2425" y="1294"/>
                </a:cubicBezTo>
                <a:cubicBezTo>
                  <a:pt x="2437" y="1317"/>
                  <a:pt x="2437" y="1317"/>
                  <a:pt x="2437" y="1317"/>
                </a:cubicBezTo>
                <a:cubicBezTo>
                  <a:pt x="2437" y="1317"/>
                  <a:pt x="2422" y="1308"/>
                  <a:pt x="2401" y="1320"/>
                </a:cubicBezTo>
                <a:cubicBezTo>
                  <a:pt x="2381" y="1333"/>
                  <a:pt x="2359" y="1342"/>
                  <a:pt x="2359" y="1342"/>
                </a:cubicBezTo>
                <a:cubicBezTo>
                  <a:pt x="2331" y="1353"/>
                  <a:pt x="2331" y="1353"/>
                  <a:pt x="2331" y="1353"/>
                </a:cubicBezTo>
                <a:cubicBezTo>
                  <a:pt x="2357" y="1370"/>
                  <a:pt x="2357" y="1370"/>
                  <a:pt x="2357" y="1370"/>
                </a:cubicBezTo>
                <a:cubicBezTo>
                  <a:pt x="2357" y="1370"/>
                  <a:pt x="2329" y="1367"/>
                  <a:pt x="2331" y="1375"/>
                </a:cubicBezTo>
                <a:close/>
                <a:moveTo>
                  <a:pt x="1306" y="1645"/>
                </a:moveTo>
                <a:cubicBezTo>
                  <a:pt x="1306" y="1645"/>
                  <a:pt x="1297" y="1668"/>
                  <a:pt x="1312" y="1660"/>
                </a:cubicBezTo>
                <a:cubicBezTo>
                  <a:pt x="1328" y="1652"/>
                  <a:pt x="1323" y="1626"/>
                  <a:pt x="1306" y="1645"/>
                </a:cubicBezTo>
                <a:close/>
                <a:moveTo>
                  <a:pt x="6781" y="2008"/>
                </a:moveTo>
                <a:cubicBezTo>
                  <a:pt x="6781" y="2008"/>
                  <a:pt x="6783" y="1983"/>
                  <a:pt x="6785" y="1982"/>
                </a:cubicBezTo>
                <a:cubicBezTo>
                  <a:pt x="6787" y="1982"/>
                  <a:pt x="6755" y="1921"/>
                  <a:pt x="6755" y="1921"/>
                </a:cubicBezTo>
                <a:cubicBezTo>
                  <a:pt x="6755" y="1921"/>
                  <a:pt x="6744" y="1908"/>
                  <a:pt x="6737" y="1904"/>
                </a:cubicBezTo>
                <a:cubicBezTo>
                  <a:pt x="6731" y="1900"/>
                  <a:pt x="6714" y="1881"/>
                  <a:pt x="6708" y="1866"/>
                </a:cubicBezTo>
                <a:cubicBezTo>
                  <a:pt x="6702" y="1852"/>
                  <a:pt x="6709" y="1808"/>
                  <a:pt x="6709" y="1808"/>
                </a:cubicBezTo>
                <a:cubicBezTo>
                  <a:pt x="6709" y="1808"/>
                  <a:pt x="6729" y="1802"/>
                  <a:pt x="6735" y="1792"/>
                </a:cubicBezTo>
                <a:cubicBezTo>
                  <a:pt x="6740" y="1783"/>
                  <a:pt x="6698" y="1792"/>
                  <a:pt x="6698" y="1792"/>
                </a:cubicBezTo>
                <a:cubicBezTo>
                  <a:pt x="6698" y="1792"/>
                  <a:pt x="6697" y="1777"/>
                  <a:pt x="6699" y="1776"/>
                </a:cubicBezTo>
                <a:cubicBezTo>
                  <a:pt x="6696" y="1776"/>
                  <a:pt x="6679" y="1779"/>
                  <a:pt x="6679" y="1779"/>
                </a:cubicBezTo>
                <a:cubicBezTo>
                  <a:pt x="6651" y="1744"/>
                  <a:pt x="6651" y="1744"/>
                  <a:pt x="6651" y="1744"/>
                </a:cubicBezTo>
                <a:cubicBezTo>
                  <a:pt x="6651" y="1744"/>
                  <a:pt x="6648" y="1670"/>
                  <a:pt x="6649" y="1667"/>
                </a:cubicBezTo>
                <a:cubicBezTo>
                  <a:pt x="6649" y="1664"/>
                  <a:pt x="6667" y="1650"/>
                  <a:pt x="6672" y="1645"/>
                </a:cubicBezTo>
                <a:cubicBezTo>
                  <a:pt x="6677" y="1640"/>
                  <a:pt x="6669" y="1620"/>
                  <a:pt x="6665" y="1612"/>
                </a:cubicBezTo>
                <a:cubicBezTo>
                  <a:pt x="6662" y="1603"/>
                  <a:pt x="6615" y="1604"/>
                  <a:pt x="6603" y="1603"/>
                </a:cubicBezTo>
                <a:cubicBezTo>
                  <a:pt x="6590" y="1602"/>
                  <a:pt x="6589" y="1592"/>
                  <a:pt x="6578" y="1582"/>
                </a:cubicBezTo>
                <a:cubicBezTo>
                  <a:pt x="6567" y="1572"/>
                  <a:pt x="6551" y="1536"/>
                  <a:pt x="6551" y="1524"/>
                </a:cubicBezTo>
                <a:cubicBezTo>
                  <a:pt x="6550" y="1512"/>
                  <a:pt x="6538" y="1506"/>
                  <a:pt x="6538" y="1506"/>
                </a:cubicBezTo>
                <a:cubicBezTo>
                  <a:pt x="6543" y="1486"/>
                  <a:pt x="6543" y="1486"/>
                  <a:pt x="6543" y="1486"/>
                </a:cubicBezTo>
                <a:cubicBezTo>
                  <a:pt x="6562" y="1515"/>
                  <a:pt x="6562" y="1515"/>
                  <a:pt x="6562" y="1515"/>
                </a:cubicBezTo>
                <a:cubicBezTo>
                  <a:pt x="6562" y="1515"/>
                  <a:pt x="6575" y="1513"/>
                  <a:pt x="6585" y="1502"/>
                </a:cubicBezTo>
                <a:cubicBezTo>
                  <a:pt x="6595" y="1490"/>
                  <a:pt x="6544" y="1470"/>
                  <a:pt x="6535" y="1467"/>
                </a:cubicBezTo>
                <a:cubicBezTo>
                  <a:pt x="6527" y="1464"/>
                  <a:pt x="6525" y="1482"/>
                  <a:pt x="6514" y="1482"/>
                </a:cubicBezTo>
                <a:cubicBezTo>
                  <a:pt x="6503" y="1482"/>
                  <a:pt x="6464" y="1450"/>
                  <a:pt x="6464" y="1450"/>
                </a:cubicBezTo>
                <a:cubicBezTo>
                  <a:pt x="6453" y="1414"/>
                  <a:pt x="6453" y="1414"/>
                  <a:pt x="6453" y="1414"/>
                </a:cubicBezTo>
                <a:cubicBezTo>
                  <a:pt x="6453" y="1414"/>
                  <a:pt x="6416" y="1434"/>
                  <a:pt x="6415" y="1436"/>
                </a:cubicBezTo>
                <a:cubicBezTo>
                  <a:pt x="6413" y="1438"/>
                  <a:pt x="6428" y="1445"/>
                  <a:pt x="6433" y="1450"/>
                </a:cubicBezTo>
                <a:cubicBezTo>
                  <a:pt x="6437" y="1454"/>
                  <a:pt x="6415" y="1459"/>
                  <a:pt x="6398" y="1460"/>
                </a:cubicBezTo>
                <a:cubicBezTo>
                  <a:pt x="6381" y="1460"/>
                  <a:pt x="6347" y="1401"/>
                  <a:pt x="6344" y="1381"/>
                </a:cubicBezTo>
                <a:cubicBezTo>
                  <a:pt x="6341" y="1361"/>
                  <a:pt x="6318" y="1332"/>
                  <a:pt x="6318" y="1332"/>
                </a:cubicBezTo>
                <a:cubicBezTo>
                  <a:pt x="6305" y="1334"/>
                  <a:pt x="6305" y="1334"/>
                  <a:pt x="6305" y="1334"/>
                </a:cubicBezTo>
                <a:cubicBezTo>
                  <a:pt x="6305" y="1334"/>
                  <a:pt x="6287" y="1315"/>
                  <a:pt x="6278" y="1308"/>
                </a:cubicBezTo>
                <a:cubicBezTo>
                  <a:pt x="6269" y="1302"/>
                  <a:pt x="6277" y="1292"/>
                  <a:pt x="6277" y="1292"/>
                </a:cubicBezTo>
                <a:cubicBezTo>
                  <a:pt x="6277" y="1292"/>
                  <a:pt x="6272" y="1280"/>
                  <a:pt x="6272" y="1278"/>
                </a:cubicBezTo>
                <a:cubicBezTo>
                  <a:pt x="6272" y="1275"/>
                  <a:pt x="6287" y="1272"/>
                  <a:pt x="6287" y="1272"/>
                </a:cubicBezTo>
                <a:cubicBezTo>
                  <a:pt x="6280" y="1246"/>
                  <a:pt x="6280" y="1246"/>
                  <a:pt x="6280" y="1246"/>
                </a:cubicBezTo>
                <a:cubicBezTo>
                  <a:pt x="6280" y="1246"/>
                  <a:pt x="6305" y="1252"/>
                  <a:pt x="6321" y="1250"/>
                </a:cubicBezTo>
                <a:cubicBezTo>
                  <a:pt x="6337" y="1248"/>
                  <a:pt x="6298" y="1220"/>
                  <a:pt x="6298" y="1220"/>
                </a:cubicBezTo>
                <a:cubicBezTo>
                  <a:pt x="6292" y="1151"/>
                  <a:pt x="6292" y="1151"/>
                  <a:pt x="6292" y="1151"/>
                </a:cubicBezTo>
                <a:cubicBezTo>
                  <a:pt x="6292" y="1151"/>
                  <a:pt x="6334" y="1186"/>
                  <a:pt x="6343" y="1184"/>
                </a:cubicBezTo>
                <a:cubicBezTo>
                  <a:pt x="6351" y="1182"/>
                  <a:pt x="6319" y="1132"/>
                  <a:pt x="6319" y="1132"/>
                </a:cubicBezTo>
                <a:cubicBezTo>
                  <a:pt x="6322" y="1098"/>
                  <a:pt x="6322" y="1098"/>
                  <a:pt x="6322" y="1098"/>
                </a:cubicBezTo>
                <a:cubicBezTo>
                  <a:pt x="6322" y="1091"/>
                  <a:pt x="6361" y="1021"/>
                  <a:pt x="6369" y="1015"/>
                </a:cubicBezTo>
                <a:cubicBezTo>
                  <a:pt x="6377" y="1009"/>
                  <a:pt x="6413" y="1015"/>
                  <a:pt x="6424" y="1009"/>
                </a:cubicBezTo>
                <a:cubicBezTo>
                  <a:pt x="6435" y="1003"/>
                  <a:pt x="6395" y="974"/>
                  <a:pt x="6383" y="966"/>
                </a:cubicBezTo>
                <a:cubicBezTo>
                  <a:pt x="6371" y="958"/>
                  <a:pt x="6378" y="911"/>
                  <a:pt x="6377" y="900"/>
                </a:cubicBezTo>
                <a:cubicBezTo>
                  <a:pt x="6377" y="889"/>
                  <a:pt x="6356" y="874"/>
                  <a:pt x="6356" y="873"/>
                </a:cubicBezTo>
                <a:cubicBezTo>
                  <a:pt x="6356" y="872"/>
                  <a:pt x="6358" y="857"/>
                  <a:pt x="6358" y="857"/>
                </a:cubicBezTo>
                <a:cubicBezTo>
                  <a:pt x="6342" y="841"/>
                  <a:pt x="6342" y="841"/>
                  <a:pt x="6342" y="841"/>
                </a:cubicBezTo>
                <a:cubicBezTo>
                  <a:pt x="6352" y="824"/>
                  <a:pt x="6352" y="824"/>
                  <a:pt x="6352" y="824"/>
                </a:cubicBezTo>
                <a:cubicBezTo>
                  <a:pt x="6331" y="799"/>
                  <a:pt x="6331" y="799"/>
                  <a:pt x="6331" y="799"/>
                </a:cubicBezTo>
                <a:cubicBezTo>
                  <a:pt x="6338" y="786"/>
                  <a:pt x="6338" y="786"/>
                  <a:pt x="6338" y="786"/>
                </a:cubicBezTo>
                <a:cubicBezTo>
                  <a:pt x="6326" y="772"/>
                  <a:pt x="6326" y="772"/>
                  <a:pt x="6326" y="772"/>
                </a:cubicBezTo>
                <a:cubicBezTo>
                  <a:pt x="6329" y="751"/>
                  <a:pt x="6329" y="751"/>
                  <a:pt x="6329" y="751"/>
                </a:cubicBezTo>
                <a:cubicBezTo>
                  <a:pt x="6305" y="623"/>
                  <a:pt x="6305" y="623"/>
                  <a:pt x="6305" y="623"/>
                </a:cubicBezTo>
                <a:cubicBezTo>
                  <a:pt x="6305" y="623"/>
                  <a:pt x="6284" y="622"/>
                  <a:pt x="6280" y="616"/>
                </a:cubicBezTo>
                <a:cubicBezTo>
                  <a:pt x="6276" y="611"/>
                  <a:pt x="6308" y="602"/>
                  <a:pt x="6308" y="602"/>
                </a:cubicBezTo>
                <a:cubicBezTo>
                  <a:pt x="6358" y="544"/>
                  <a:pt x="6358" y="544"/>
                  <a:pt x="6358" y="544"/>
                </a:cubicBezTo>
                <a:cubicBezTo>
                  <a:pt x="6323" y="504"/>
                  <a:pt x="6323" y="504"/>
                  <a:pt x="6323" y="504"/>
                </a:cubicBezTo>
                <a:cubicBezTo>
                  <a:pt x="6312" y="512"/>
                  <a:pt x="6312" y="512"/>
                  <a:pt x="6312" y="512"/>
                </a:cubicBezTo>
                <a:cubicBezTo>
                  <a:pt x="6292" y="501"/>
                  <a:pt x="6292" y="501"/>
                  <a:pt x="6292" y="501"/>
                </a:cubicBezTo>
                <a:cubicBezTo>
                  <a:pt x="6292" y="501"/>
                  <a:pt x="6263" y="523"/>
                  <a:pt x="6242" y="526"/>
                </a:cubicBezTo>
                <a:cubicBezTo>
                  <a:pt x="6221" y="529"/>
                  <a:pt x="6209" y="509"/>
                  <a:pt x="6209" y="509"/>
                </a:cubicBezTo>
                <a:cubicBezTo>
                  <a:pt x="6192" y="517"/>
                  <a:pt x="6192" y="517"/>
                  <a:pt x="6192" y="517"/>
                </a:cubicBezTo>
                <a:cubicBezTo>
                  <a:pt x="6164" y="507"/>
                  <a:pt x="6164" y="507"/>
                  <a:pt x="6164" y="507"/>
                </a:cubicBezTo>
                <a:cubicBezTo>
                  <a:pt x="6164" y="507"/>
                  <a:pt x="6166" y="524"/>
                  <a:pt x="6163" y="537"/>
                </a:cubicBezTo>
                <a:cubicBezTo>
                  <a:pt x="6161" y="550"/>
                  <a:pt x="6120" y="546"/>
                  <a:pt x="6120" y="548"/>
                </a:cubicBezTo>
                <a:cubicBezTo>
                  <a:pt x="6120" y="549"/>
                  <a:pt x="6104" y="579"/>
                  <a:pt x="6091" y="583"/>
                </a:cubicBezTo>
                <a:cubicBezTo>
                  <a:pt x="6078" y="587"/>
                  <a:pt x="6099" y="549"/>
                  <a:pt x="6099" y="549"/>
                </a:cubicBezTo>
                <a:cubicBezTo>
                  <a:pt x="6099" y="549"/>
                  <a:pt x="6075" y="563"/>
                  <a:pt x="6069" y="562"/>
                </a:cubicBezTo>
                <a:cubicBezTo>
                  <a:pt x="6062" y="561"/>
                  <a:pt x="6076" y="548"/>
                  <a:pt x="6087" y="538"/>
                </a:cubicBezTo>
                <a:cubicBezTo>
                  <a:pt x="6098" y="528"/>
                  <a:pt x="6104" y="533"/>
                  <a:pt x="6124" y="519"/>
                </a:cubicBezTo>
                <a:cubicBezTo>
                  <a:pt x="6144" y="504"/>
                  <a:pt x="6129" y="492"/>
                  <a:pt x="6133" y="482"/>
                </a:cubicBezTo>
                <a:cubicBezTo>
                  <a:pt x="6138" y="473"/>
                  <a:pt x="6129" y="449"/>
                  <a:pt x="6128" y="444"/>
                </a:cubicBezTo>
                <a:cubicBezTo>
                  <a:pt x="6128" y="439"/>
                  <a:pt x="6114" y="434"/>
                  <a:pt x="6112" y="433"/>
                </a:cubicBezTo>
                <a:cubicBezTo>
                  <a:pt x="6110" y="431"/>
                  <a:pt x="6107" y="408"/>
                  <a:pt x="6107" y="408"/>
                </a:cubicBezTo>
                <a:cubicBezTo>
                  <a:pt x="6070" y="381"/>
                  <a:pt x="6070" y="381"/>
                  <a:pt x="6070" y="381"/>
                </a:cubicBezTo>
                <a:cubicBezTo>
                  <a:pt x="6070" y="381"/>
                  <a:pt x="6061" y="391"/>
                  <a:pt x="6041" y="394"/>
                </a:cubicBezTo>
                <a:cubicBezTo>
                  <a:pt x="6021" y="397"/>
                  <a:pt x="6015" y="386"/>
                  <a:pt x="6015" y="386"/>
                </a:cubicBezTo>
                <a:cubicBezTo>
                  <a:pt x="6015" y="386"/>
                  <a:pt x="6019" y="375"/>
                  <a:pt x="6020" y="373"/>
                </a:cubicBezTo>
                <a:cubicBezTo>
                  <a:pt x="6021" y="371"/>
                  <a:pt x="6006" y="366"/>
                  <a:pt x="6006" y="366"/>
                </a:cubicBezTo>
                <a:cubicBezTo>
                  <a:pt x="6006" y="366"/>
                  <a:pt x="6009" y="360"/>
                  <a:pt x="6016" y="355"/>
                </a:cubicBezTo>
                <a:cubicBezTo>
                  <a:pt x="6023" y="350"/>
                  <a:pt x="6005" y="335"/>
                  <a:pt x="6009" y="336"/>
                </a:cubicBezTo>
                <a:cubicBezTo>
                  <a:pt x="6014" y="336"/>
                  <a:pt x="6034" y="355"/>
                  <a:pt x="6046" y="359"/>
                </a:cubicBezTo>
                <a:cubicBezTo>
                  <a:pt x="6059" y="363"/>
                  <a:pt x="6065" y="344"/>
                  <a:pt x="6065" y="344"/>
                </a:cubicBezTo>
                <a:cubicBezTo>
                  <a:pt x="6065" y="344"/>
                  <a:pt x="6079" y="355"/>
                  <a:pt x="6087" y="356"/>
                </a:cubicBezTo>
                <a:cubicBezTo>
                  <a:pt x="6095" y="357"/>
                  <a:pt x="6100" y="323"/>
                  <a:pt x="6101" y="313"/>
                </a:cubicBezTo>
                <a:cubicBezTo>
                  <a:pt x="6103" y="303"/>
                  <a:pt x="6090" y="298"/>
                  <a:pt x="6090" y="298"/>
                </a:cubicBezTo>
                <a:cubicBezTo>
                  <a:pt x="6122" y="258"/>
                  <a:pt x="6122" y="258"/>
                  <a:pt x="6122" y="258"/>
                </a:cubicBezTo>
                <a:cubicBezTo>
                  <a:pt x="6122" y="258"/>
                  <a:pt x="6163" y="261"/>
                  <a:pt x="6182" y="256"/>
                </a:cubicBezTo>
                <a:cubicBezTo>
                  <a:pt x="6202" y="250"/>
                  <a:pt x="6190" y="228"/>
                  <a:pt x="6190" y="228"/>
                </a:cubicBezTo>
                <a:cubicBezTo>
                  <a:pt x="6214" y="204"/>
                  <a:pt x="6214" y="204"/>
                  <a:pt x="6214" y="204"/>
                </a:cubicBezTo>
                <a:cubicBezTo>
                  <a:pt x="6214" y="204"/>
                  <a:pt x="6235" y="195"/>
                  <a:pt x="6243" y="187"/>
                </a:cubicBezTo>
                <a:cubicBezTo>
                  <a:pt x="6252" y="179"/>
                  <a:pt x="6228" y="172"/>
                  <a:pt x="6228" y="172"/>
                </a:cubicBezTo>
                <a:cubicBezTo>
                  <a:pt x="6228" y="172"/>
                  <a:pt x="6235" y="166"/>
                  <a:pt x="6244" y="157"/>
                </a:cubicBezTo>
                <a:cubicBezTo>
                  <a:pt x="6252" y="149"/>
                  <a:pt x="6251" y="128"/>
                  <a:pt x="6248" y="127"/>
                </a:cubicBezTo>
                <a:cubicBezTo>
                  <a:pt x="6244" y="126"/>
                  <a:pt x="6219" y="152"/>
                  <a:pt x="6205" y="148"/>
                </a:cubicBezTo>
                <a:cubicBezTo>
                  <a:pt x="6192" y="144"/>
                  <a:pt x="6200" y="114"/>
                  <a:pt x="6195" y="112"/>
                </a:cubicBezTo>
                <a:cubicBezTo>
                  <a:pt x="6190" y="110"/>
                  <a:pt x="6180" y="122"/>
                  <a:pt x="6173" y="122"/>
                </a:cubicBezTo>
                <a:cubicBezTo>
                  <a:pt x="6166" y="122"/>
                  <a:pt x="6156" y="105"/>
                  <a:pt x="6156" y="105"/>
                </a:cubicBezTo>
                <a:cubicBezTo>
                  <a:pt x="6156" y="105"/>
                  <a:pt x="6133" y="122"/>
                  <a:pt x="6130" y="122"/>
                </a:cubicBezTo>
                <a:cubicBezTo>
                  <a:pt x="6127" y="122"/>
                  <a:pt x="6139" y="103"/>
                  <a:pt x="6147" y="96"/>
                </a:cubicBezTo>
                <a:cubicBezTo>
                  <a:pt x="6154" y="89"/>
                  <a:pt x="6149" y="64"/>
                  <a:pt x="6149" y="64"/>
                </a:cubicBezTo>
                <a:cubicBezTo>
                  <a:pt x="6122" y="69"/>
                  <a:pt x="6122" y="69"/>
                  <a:pt x="6122" y="69"/>
                </a:cubicBezTo>
                <a:cubicBezTo>
                  <a:pt x="6122" y="69"/>
                  <a:pt x="6144" y="41"/>
                  <a:pt x="6144" y="37"/>
                </a:cubicBezTo>
                <a:cubicBezTo>
                  <a:pt x="6144" y="34"/>
                  <a:pt x="6126" y="36"/>
                  <a:pt x="6119" y="35"/>
                </a:cubicBezTo>
                <a:cubicBezTo>
                  <a:pt x="6112" y="34"/>
                  <a:pt x="6104" y="0"/>
                  <a:pt x="6104" y="0"/>
                </a:cubicBezTo>
                <a:cubicBezTo>
                  <a:pt x="6040" y="56"/>
                  <a:pt x="6040" y="56"/>
                  <a:pt x="6040" y="56"/>
                </a:cubicBezTo>
                <a:cubicBezTo>
                  <a:pt x="6040" y="56"/>
                  <a:pt x="6020" y="59"/>
                  <a:pt x="6014" y="62"/>
                </a:cubicBezTo>
                <a:cubicBezTo>
                  <a:pt x="6008" y="65"/>
                  <a:pt x="5993" y="96"/>
                  <a:pt x="5993" y="96"/>
                </a:cubicBezTo>
                <a:cubicBezTo>
                  <a:pt x="5993" y="96"/>
                  <a:pt x="6007" y="110"/>
                  <a:pt x="6007" y="118"/>
                </a:cubicBezTo>
                <a:cubicBezTo>
                  <a:pt x="6007" y="125"/>
                  <a:pt x="5979" y="131"/>
                  <a:pt x="5979" y="131"/>
                </a:cubicBezTo>
                <a:cubicBezTo>
                  <a:pt x="5979" y="131"/>
                  <a:pt x="5974" y="159"/>
                  <a:pt x="5974" y="160"/>
                </a:cubicBezTo>
                <a:cubicBezTo>
                  <a:pt x="5974" y="161"/>
                  <a:pt x="6007" y="151"/>
                  <a:pt x="6018" y="151"/>
                </a:cubicBezTo>
                <a:cubicBezTo>
                  <a:pt x="6029" y="151"/>
                  <a:pt x="6054" y="159"/>
                  <a:pt x="6050" y="170"/>
                </a:cubicBezTo>
                <a:cubicBezTo>
                  <a:pt x="6047" y="182"/>
                  <a:pt x="6015" y="186"/>
                  <a:pt x="6012" y="188"/>
                </a:cubicBezTo>
                <a:cubicBezTo>
                  <a:pt x="6009" y="190"/>
                  <a:pt x="6006" y="182"/>
                  <a:pt x="6006" y="182"/>
                </a:cubicBezTo>
                <a:cubicBezTo>
                  <a:pt x="5969" y="184"/>
                  <a:pt x="5969" y="184"/>
                  <a:pt x="5969" y="184"/>
                </a:cubicBezTo>
                <a:cubicBezTo>
                  <a:pt x="5943" y="172"/>
                  <a:pt x="5943" y="172"/>
                  <a:pt x="5943" y="172"/>
                </a:cubicBezTo>
                <a:cubicBezTo>
                  <a:pt x="5937" y="189"/>
                  <a:pt x="5937" y="189"/>
                  <a:pt x="5937" y="189"/>
                </a:cubicBezTo>
                <a:cubicBezTo>
                  <a:pt x="5906" y="186"/>
                  <a:pt x="5906" y="186"/>
                  <a:pt x="5906" y="186"/>
                </a:cubicBezTo>
                <a:cubicBezTo>
                  <a:pt x="5815" y="262"/>
                  <a:pt x="5815" y="262"/>
                  <a:pt x="5815" y="262"/>
                </a:cubicBezTo>
                <a:cubicBezTo>
                  <a:pt x="5804" y="280"/>
                  <a:pt x="5804" y="280"/>
                  <a:pt x="5804" y="280"/>
                </a:cubicBezTo>
                <a:cubicBezTo>
                  <a:pt x="5804" y="280"/>
                  <a:pt x="5795" y="276"/>
                  <a:pt x="5790" y="276"/>
                </a:cubicBezTo>
                <a:cubicBezTo>
                  <a:pt x="5785" y="275"/>
                  <a:pt x="5768" y="295"/>
                  <a:pt x="5768" y="295"/>
                </a:cubicBezTo>
                <a:cubicBezTo>
                  <a:pt x="5755" y="296"/>
                  <a:pt x="5755" y="296"/>
                  <a:pt x="5755" y="296"/>
                </a:cubicBezTo>
                <a:cubicBezTo>
                  <a:pt x="5755" y="296"/>
                  <a:pt x="5741" y="321"/>
                  <a:pt x="5741" y="322"/>
                </a:cubicBezTo>
                <a:cubicBezTo>
                  <a:pt x="5741" y="324"/>
                  <a:pt x="5719" y="322"/>
                  <a:pt x="5712" y="324"/>
                </a:cubicBezTo>
                <a:cubicBezTo>
                  <a:pt x="5706" y="326"/>
                  <a:pt x="5657" y="384"/>
                  <a:pt x="5643" y="400"/>
                </a:cubicBezTo>
                <a:cubicBezTo>
                  <a:pt x="5629" y="416"/>
                  <a:pt x="5626" y="408"/>
                  <a:pt x="5612" y="417"/>
                </a:cubicBezTo>
                <a:cubicBezTo>
                  <a:pt x="5598" y="426"/>
                  <a:pt x="5607" y="438"/>
                  <a:pt x="5604" y="451"/>
                </a:cubicBezTo>
                <a:cubicBezTo>
                  <a:pt x="5601" y="465"/>
                  <a:pt x="5579" y="501"/>
                  <a:pt x="5579" y="501"/>
                </a:cubicBezTo>
                <a:cubicBezTo>
                  <a:pt x="5591" y="510"/>
                  <a:pt x="5591" y="510"/>
                  <a:pt x="5591" y="510"/>
                </a:cubicBezTo>
                <a:cubicBezTo>
                  <a:pt x="5567" y="519"/>
                  <a:pt x="5567" y="519"/>
                  <a:pt x="5567" y="519"/>
                </a:cubicBezTo>
                <a:cubicBezTo>
                  <a:pt x="5567" y="519"/>
                  <a:pt x="5520" y="578"/>
                  <a:pt x="5522" y="580"/>
                </a:cubicBezTo>
                <a:cubicBezTo>
                  <a:pt x="5523" y="581"/>
                  <a:pt x="5555" y="613"/>
                  <a:pt x="5555" y="613"/>
                </a:cubicBezTo>
                <a:cubicBezTo>
                  <a:pt x="5555" y="613"/>
                  <a:pt x="5583" y="602"/>
                  <a:pt x="5600" y="602"/>
                </a:cubicBezTo>
                <a:cubicBezTo>
                  <a:pt x="5616" y="601"/>
                  <a:pt x="5648" y="634"/>
                  <a:pt x="5650" y="636"/>
                </a:cubicBezTo>
                <a:cubicBezTo>
                  <a:pt x="5652" y="639"/>
                  <a:pt x="5633" y="666"/>
                  <a:pt x="5627" y="673"/>
                </a:cubicBezTo>
                <a:cubicBezTo>
                  <a:pt x="5620" y="680"/>
                  <a:pt x="5594" y="668"/>
                  <a:pt x="5594" y="668"/>
                </a:cubicBezTo>
                <a:cubicBezTo>
                  <a:pt x="5594" y="668"/>
                  <a:pt x="5571" y="689"/>
                  <a:pt x="5562" y="692"/>
                </a:cubicBezTo>
                <a:cubicBezTo>
                  <a:pt x="5554" y="695"/>
                  <a:pt x="5510" y="684"/>
                  <a:pt x="5510" y="684"/>
                </a:cubicBezTo>
                <a:cubicBezTo>
                  <a:pt x="5510" y="684"/>
                  <a:pt x="5518" y="713"/>
                  <a:pt x="5519" y="725"/>
                </a:cubicBezTo>
                <a:cubicBezTo>
                  <a:pt x="5520" y="736"/>
                  <a:pt x="5501" y="749"/>
                  <a:pt x="5491" y="759"/>
                </a:cubicBezTo>
                <a:cubicBezTo>
                  <a:pt x="5480" y="769"/>
                  <a:pt x="5481" y="774"/>
                  <a:pt x="5478" y="784"/>
                </a:cubicBezTo>
                <a:cubicBezTo>
                  <a:pt x="5476" y="794"/>
                  <a:pt x="5463" y="793"/>
                  <a:pt x="5454" y="801"/>
                </a:cubicBezTo>
                <a:cubicBezTo>
                  <a:pt x="5445" y="808"/>
                  <a:pt x="5435" y="849"/>
                  <a:pt x="5435" y="851"/>
                </a:cubicBezTo>
                <a:cubicBezTo>
                  <a:pt x="5435" y="853"/>
                  <a:pt x="5419" y="877"/>
                  <a:pt x="5419" y="877"/>
                </a:cubicBezTo>
                <a:cubicBezTo>
                  <a:pt x="5436" y="889"/>
                  <a:pt x="5436" y="889"/>
                  <a:pt x="5436" y="889"/>
                </a:cubicBezTo>
                <a:cubicBezTo>
                  <a:pt x="5436" y="889"/>
                  <a:pt x="5414" y="894"/>
                  <a:pt x="5412" y="894"/>
                </a:cubicBezTo>
                <a:cubicBezTo>
                  <a:pt x="5411" y="894"/>
                  <a:pt x="5376" y="922"/>
                  <a:pt x="5367" y="925"/>
                </a:cubicBezTo>
                <a:cubicBezTo>
                  <a:pt x="5358" y="928"/>
                  <a:pt x="5315" y="880"/>
                  <a:pt x="5300" y="878"/>
                </a:cubicBezTo>
                <a:cubicBezTo>
                  <a:pt x="5284" y="876"/>
                  <a:pt x="5265" y="880"/>
                  <a:pt x="5216" y="920"/>
                </a:cubicBezTo>
                <a:cubicBezTo>
                  <a:pt x="5168" y="960"/>
                  <a:pt x="5156" y="1037"/>
                  <a:pt x="5154" y="1050"/>
                </a:cubicBezTo>
                <a:cubicBezTo>
                  <a:pt x="5151" y="1064"/>
                  <a:pt x="5116" y="1069"/>
                  <a:pt x="5116" y="1069"/>
                </a:cubicBezTo>
                <a:cubicBezTo>
                  <a:pt x="5116" y="1069"/>
                  <a:pt x="5117" y="1060"/>
                  <a:pt x="5117" y="1058"/>
                </a:cubicBezTo>
                <a:cubicBezTo>
                  <a:pt x="5117" y="1057"/>
                  <a:pt x="5094" y="1053"/>
                  <a:pt x="5081" y="1051"/>
                </a:cubicBezTo>
                <a:cubicBezTo>
                  <a:pt x="5068" y="1050"/>
                  <a:pt x="5059" y="1096"/>
                  <a:pt x="5059" y="1096"/>
                </a:cubicBezTo>
                <a:cubicBezTo>
                  <a:pt x="5048" y="1069"/>
                  <a:pt x="5048" y="1069"/>
                  <a:pt x="5048" y="1069"/>
                </a:cubicBezTo>
                <a:cubicBezTo>
                  <a:pt x="5035" y="1087"/>
                  <a:pt x="5035" y="1087"/>
                  <a:pt x="5035" y="1087"/>
                </a:cubicBezTo>
                <a:cubicBezTo>
                  <a:pt x="5020" y="1074"/>
                  <a:pt x="5020" y="1074"/>
                  <a:pt x="5020" y="1074"/>
                </a:cubicBezTo>
                <a:cubicBezTo>
                  <a:pt x="5020" y="1074"/>
                  <a:pt x="5008" y="1094"/>
                  <a:pt x="4993" y="1087"/>
                </a:cubicBezTo>
                <a:cubicBezTo>
                  <a:pt x="4978" y="1080"/>
                  <a:pt x="5007" y="1057"/>
                  <a:pt x="5007" y="1051"/>
                </a:cubicBezTo>
                <a:cubicBezTo>
                  <a:pt x="5006" y="1045"/>
                  <a:pt x="4975" y="1040"/>
                  <a:pt x="4967" y="1042"/>
                </a:cubicBezTo>
                <a:cubicBezTo>
                  <a:pt x="4959" y="1044"/>
                  <a:pt x="4924" y="1079"/>
                  <a:pt x="4913" y="1094"/>
                </a:cubicBezTo>
                <a:cubicBezTo>
                  <a:pt x="4902" y="1110"/>
                  <a:pt x="4930" y="1160"/>
                  <a:pt x="4931" y="1164"/>
                </a:cubicBezTo>
                <a:cubicBezTo>
                  <a:pt x="4931" y="1169"/>
                  <a:pt x="4921" y="1185"/>
                  <a:pt x="4907" y="1183"/>
                </a:cubicBezTo>
                <a:cubicBezTo>
                  <a:pt x="4894" y="1181"/>
                  <a:pt x="4910" y="1151"/>
                  <a:pt x="4910" y="1151"/>
                </a:cubicBezTo>
                <a:cubicBezTo>
                  <a:pt x="4889" y="1129"/>
                  <a:pt x="4889" y="1129"/>
                  <a:pt x="4889" y="1129"/>
                </a:cubicBezTo>
                <a:cubicBezTo>
                  <a:pt x="4889" y="1129"/>
                  <a:pt x="4874" y="1144"/>
                  <a:pt x="4873" y="1146"/>
                </a:cubicBezTo>
                <a:cubicBezTo>
                  <a:pt x="4873" y="1148"/>
                  <a:pt x="4855" y="1160"/>
                  <a:pt x="4855" y="1160"/>
                </a:cubicBezTo>
                <a:cubicBezTo>
                  <a:pt x="4855" y="1131"/>
                  <a:pt x="4855" y="1131"/>
                  <a:pt x="4855" y="1131"/>
                </a:cubicBezTo>
                <a:cubicBezTo>
                  <a:pt x="4855" y="1131"/>
                  <a:pt x="4876" y="1123"/>
                  <a:pt x="4884" y="1118"/>
                </a:cubicBezTo>
                <a:cubicBezTo>
                  <a:pt x="4892" y="1112"/>
                  <a:pt x="4903" y="1099"/>
                  <a:pt x="4903" y="1099"/>
                </a:cubicBezTo>
                <a:cubicBezTo>
                  <a:pt x="4903" y="1099"/>
                  <a:pt x="4898" y="1098"/>
                  <a:pt x="4886" y="1100"/>
                </a:cubicBezTo>
                <a:cubicBezTo>
                  <a:pt x="4874" y="1101"/>
                  <a:pt x="4773" y="1169"/>
                  <a:pt x="4773" y="1169"/>
                </a:cubicBezTo>
                <a:cubicBezTo>
                  <a:pt x="4773" y="1169"/>
                  <a:pt x="4768" y="1173"/>
                  <a:pt x="4754" y="1171"/>
                </a:cubicBezTo>
                <a:cubicBezTo>
                  <a:pt x="4741" y="1169"/>
                  <a:pt x="4731" y="1185"/>
                  <a:pt x="4731" y="1185"/>
                </a:cubicBezTo>
                <a:cubicBezTo>
                  <a:pt x="4731" y="1185"/>
                  <a:pt x="4753" y="1196"/>
                  <a:pt x="4756" y="1208"/>
                </a:cubicBezTo>
                <a:cubicBezTo>
                  <a:pt x="4760" y="1220"/>
                  <a:pt x="4733" y="1234"/>
                  <a:pt x="4727" y="1241"/>
                </a:cubicBezTo>
                <a:cubicBezTo>
                  <a:pt x="4722" y="1249"/>
                  <a:pt x="4742" y="1268"/>
                  <a:pt x="4742" y="1268"/>
                </a:cubicBezTo>
                <a:cubicBezTo>
                  <a:pt x="4764" y="1246"/>
                  <a:pt x="4764" y="1246"/>
                  <a:pt x="4764" y="1246"/>
                </a:cubicBezTo>
                <a:cubicBezTo>
                  <a:pt x="4769" y="1278"/>
                  <a:pt x="4769" y="1278"/>
                  <a:pt x="4769" y="1278"/>
                </a:cubicBezTo>
                <a:cubicBezTo>
                  <a:pt x="4808" y="1308"/>
                  <a:pt x="4808" y="1308"/>
                  <a:pt x="4808" y="1308"/>
                </a:cubicBezTo>
                <a:cubicBezTo>
                  <a:pt x="4791" y="1326"/>
                  <a:pt x="4791" y="1326"/>
                  <a:pt x="4791" y="1326"/>
                </a:cubicBezTo>
                <a:cubicBezTo>
                  <a:pt x="4771" y="1321"/>
                  <a:pt x="4771" y="1321"/>
                  <a:pt x="4771" y="1321"/>
                </a:cubicBezTo>
                <a:cubicBezTo>
                  <a:pt x="4755" y="1342"/>
                  <a:pt x="4755" y="1342"/>
                  <a:pt x="4755" y="1342"/>
                </a:cubicBezTo>
                <a:cubicBezTo>
                  <a:pt x="4755" y="1342"/>
                  <a:pt x="4775" y="1354"/>
                  <a:pt x="4779" y="1360"/>
                </a:cubicBezTo>
                <a:cubicBezTo>
                  <a:pt x="4783" y="1366"/>
                  <a:pt x="4775" y="1373"/>
                  <a:pt x="4766" y="1380"/>
                </a:cubicBezTo>
                <a:cubicBezTo>
                  <a:pt x="4757" y="1387"/>
                  <a:pt x="4736" y="1377"/>
                  <a:pt x="4736" y="1377"/>
                </a:cubicBezTo>
                <a:cubicBezTo>
                  <a:pt x="4736" y="1377"/>
                  <a:pt x="4728" y="1370"/>
                  <a:pt x="4719" y="1369"/>
                </a:cubicBezTo>
                <a:cubicBezTo>
                  <a:pt x="4710" y="1368"/>
                  <a:pt x="4691" y="1379"/>
                  <a:pt x="4683" y="1387"/>
                </a:cubicBezTo>
                <a:cubicBezTo>
                  <a:pt x="4674" y="1395"/>
                  <a:pt x="4682" y="1417"/>
                  <a:pt x="4682" y="1424"/>
                </a:cubicBezTo>
                <a:cubicBezTo>
                  <a:pt x="4682" y="1430"/>
                  <a:pt x="4660" y="1436"/>
                  <a:pt x="4647" y="1437"/>
                </a:cubicBezTo>
                <a:cubicBezTo>
                  <a:pt x="4635" y="1438"/>
                  <a:pt x="4598" y="1418"/>
                  <a:pt x="4598" y="1418"/>
                </a:cubicBezTo>
                <a:cubicBezTo>
                  <a:pt x="4598" y="1445"/>
                  <a:pt x="4598" y="1445"/>
                  <a:pt x="4598" y="1445"/>
                </a:cubicBezTo>
                <a:cubicBezTo>
                  <a:pt x="4598" y="1445"/>
                  <a:pt x="4620" y="1490"/>
                  <a:pt x="4625" y="1514"/>
                </a:cubicBezTo>
                <a:cubicBezTo>
                  <a:pt x="4629" y="1538"/>
                  <a:pt x="4620" y="1543"/>
                  <a:pt x="4620" y="1544"/>
                </a:cubicBezTo>
                <a:cubicBezTo>
                  <a:pt x="4619" y="1546"/>
                  <a:pt x="4599" y="1532"/>
                  <a:pt x="4599" y="1532"/>
                </a:cubicBezTo>
                <a:cubicBezTo>
                  <a:pt x="4589" y="1542"/>
                  <a:pt x="4589" y="1542"/>
                  <a:pt x="4589" y="1542"/>
                </a:cubicBezTo>
                <a:cubicBezTo>
                  <a:pt x="4589" y="1542"/>
                  <a:pt x="4580" y="1539"/>
                  <a:pt x="4567" y="1535"/>
                </a:cubicBezTo>
                <a:cubicBezTo>
                  <a:pt x="4553" y="1530"/>
                  <a:pt x="4521" y="1504"/>
                  <a:pt x="4510" y="1500"/>
                </a:cubicBezTo>
                <a:cubicBezTo>
                  <a:pt x="4500" y="1496"/>
                  <a:pt x="4464" y="1465"/>
                  <a:pt x="4464" y="1465"/>
                </a:cubicBezTo>
                <a:cubicBezTo>
                  <a:pt x="4464" y="1465"/>
                  <a:pt x="4490" y="1460"/>
                  <a:pt x="4495" y="1453"/>
                </a:cubicBezTo>
                <a:cubicBezTo>
                  <a:pt x="4500" y="1445"/>
                  <a:pt x="4493" y="1441"/>
                  <a:pt x="4484" y="1432"/>
                </a:cubicBezTo>
                <a:cubicBezTo>
                  <a:pt x="4475" y="1424"/>
                  <a:pt x="4462" y="1439"/>
                  <a:pt x="4452" y="1436"/>
                </a:cubicBezTo>
                <a:cubicBezTo>
                  <a:pt x="4443" y="1434"/>
                  <a:pt x="4462" y="1409"/>
                  <a:pt x="4462" y="1409"/>
                </a:cubicBezTo>
                <a:cubicBezTo>
                  <a:pt x="4452" y="1407"/>
                  <a:pt x="4452" y="1407"/>
                  <a:pt x="4452" y="1407"/>
                </a:cubicBezTo>
                <a:cubicBezTo>
                  <a:pt x="4452" y="1396"/>
                  <a:pt x="4452" y="1396"/>
                  <a:pt x="4452" y="1396"/>
                </a:cubicBezTo>
                <a:cubicBezTo>
                  <a:pt x="4452" y="1396"/>
                  <a:pt x="4431" y="1397"/>
                  <a:pt x="4433" y="1397"/>
                </a:cubicBezTo>
                <a:cubicBezTo>
                  <a:pt x="4434" y="1397"/>
                  <a:pt x="4436" y="1379"/>
                  <a:pt x="4435" y="1372"/>
                </a:cubicBezTo>
                <a:cubicBezTo>
                  <a:pt x="4434" y="1364"/>
                  <a:pt x="4406" y="1370"/>
                  <a:pt x="4406" y="1370"/>
                </a:cubicBezTo>
                <a:cubicBezTo>
                  <a:pt x="4390" y="1353"/>
                  <a:pt x="4390" y="1353"/>
                  <a:pt x="4390" y="1353"/>
                </a:cubicBezTo>
                <a:cubicBezTo>
                  <a:pt x="4390" y="1353"/>
                  <a:pt x="4372" y="1358"/>
                  <a:pt x="4364" y="1364"/>
                </a:cubicBezTo>
                <a:cubicBezTo>
                  <a:pt x="4355" y="1371"/>
                  <a:pt x="4356" y="1389"/>
                  <a:pt x="4356" y="1389"/>
                </a:cubicBezTo>
                <a:cubicBezTo>
                  <a:pt x="4340" y="1381"/>
                  <a:pt x="4340" y="1381"/>
                  <a:pt x="4340" y="1381"/>
                </a:cubicBezTo>
                <a:cubicBezTo>
                  <a:pt x="4340" y="1381"/>
                  <a:pt x="4332" y="1399"/>
                  <a:pt x="4332" y="1396"/>
                </a:cubicBezTo>
                <a:cubicBezTo>
                  <a:pt x="4331" y="1392"/>
                  <a:pt x="4285" y="1379"/>
                  <a:pt x="4285" y="1379"/>
                </a:cubicBezTo>
                <a:cubicBezTo>
                  <a:pt x="4262" y="1410"/>
                  <a:pt x="4262" y="1410"/>
                  <a:pt x="4262" y="1410"/>
                </a:cubicBezTo>
                <a:cubicBezTo>
                  <a:pt x="4262" y="1410"/>
                  <a:pt x="4288" y="1445"/>
                  <a:pt x="4289" y="1447"/>
                </a:cubicBezTo>
                <a:cubicBezTo>
                  <a:pt x="4289" y="1449"/>
                  <a:pt x="4290" y="1466"/>
                  <a:pt x="4289" y="1471"/>
                </a:cubicBezTo>
                <a:cubicBezTo>
                  <a:pt x="4289" y="1477"/>
                  <a:pt x="4275" y="1476"/>
                  <a:pt x="4275" y="1476"/>
                </a:cubicBezTo>
                <a:cubicBezTo>
                  <a:pt x="4222" y="1508"/>
                  <a:pt x="4222" y="1508"/>
                  <a:pt x="4222" y="1508"/>
                </a:cubicBezTo>
                <a:cubicBezTo>
                  <a:pt x="4222" y="1508"/>
                  <a:pt x="4201" y="1497"/>
                  <a:pt x="4199" y="1496"/>
                </a:cubicBezTo>
                <a:cubicBezTo>
                  <a:pt x="4198" y="1496"/>
                  <a:pt x="4190" y="1507"/>
                  <a:pt x="4177" y="1509"/>
                </a:cubicBezTo>
                <a:cubicBezTo>
                  <a:pt x="4164" y="1511"/>
                  <a:pt x="4143" y="1498"/>
                  <a:pt x="4138" y="1492"/>
                </a:cubicBezTo>
                <a:cubicBezTo>
                  <a:pt x="4134" y="1485"/>
                  <a:pt x="4145" y="1482"/>
                  <a:pt x="4149" y="1473"/>
                </a:cubicBezTo>
                <a:cubicBezTo>
                  <a:pt x="4153" y="1464"/>
                  <a:pt x="4124" y="1476"/>
                  <a:pt x="4116" y="1479"/>
                </a:cubicBezTo>
                <a:cubicBezTo>
                  <a:pt x="4109" y="1483"/>
                  <a:pt x="4073" y="1487"/>
                  <a:pt x="4060" y="1489"/>
                </a:cubicBezTo>
                <a:cubicBezTo>
                  <a:pt x="4046" y="1490"/>
                  <a:pt x="4025" y="1519"/>
                  <a:pt x="4025" y="1519"/>
                </a:cubicBezTo>
                <a:cubicBezTo>
                  <a:pt x="4025" y="1519"/>
                  <a:pt x="4024" y="1535"/>
                  <a:pt x="4024" y="1540"/>
                </a:cubicBezTo>
                <a:cubicBezTo>
                  <a:pt x="4023" y="1546"/>
                  <a:pt x="4013" y="1558"/>
                  <a:pt x="4013" y="1558"/>
                </a:cubicBezTo>
                <a:cubicBezTo>
                  <a:pt x="4013" y="1558"/>
                  <a:pt x="3996" y="1526"/>
                  <a:pt x="3996" y="1520"/>
                </a:cubicBezTo>
                <a:cubicBezTo>
                  <a:pt x="3996" y="1513"/>
                  <a:pt x="3980" y="1501"/>
                  <a:pt x="3980" y="1501"/>
                </a:cubicBezTo>
                <a:cubicBezTo>
                  <a:pt x="3980" y="1501"/>
                  <a:pt x="3978" y="1521"/>
                  <a:pt x="3972" y="1525"/>
                </a:cubicBezTo>
                <a:cubicBezTo>
                  <a:pt x="3966" y="1528"/>
                  <a:pt x="3939" y="1525"/>
                  <a:pt x="3939" y="1525"/>
                </a:cubicBezTo>
                <a:cubicBezTo>
                  <a:pt x="3939" y="1525"/>
                  <a:pt x="3933" y="1536"/>
                  <a:pt x="3928" y="1541"/>
                </a:cubicBezTo>
                <a:cubicBezTo>
                  <a:pt x="3922" y="1546"/>
                  <a:pt x="3909" y="1573"/>
                  <a:pt x="3909" y="1573"/>
                </a:cubicBezTo>
                <a:cubicBezTo>
                  <a:pt x="3909" y="1573"/>
                  <a:pt x="3891" y="1570"/>
                  <a:pt x="3890" y="1573"/>
                </a:cubicBezTo>
                <a:cubicBezTo>
                  <a:pt x="3890" y="1577"/>
                  <a:pt x="3848" y="1615"/>
                  <a:pt x="3848" y="1615"/>
                </a:cubicBezTo>
                <a:cubicBezTo>
                  <a:pt x="3817" y="1622"/>
                  <a:pt x="3817" y="1622"/>
                  <a:pt x="3817" y="1622"/>
                </a:cubicBezTo>
                <a:cubicBezTo>
                  <a:pt x="3817" y="1622"/>
                  <a:pt x="3816" y="1644"/>
                  <a:pt x="3813" y="1664"/>
                </a:cubicBezTo>
                <a:cubicBezTo>
                  <a:pt x="3810" y="1683"/>
                  <a:pt x="3783" y="1678"/>
                  <a:pt x="3782" y="1678"/>
                </a:cubicBezTo>
                <a:cubicBezTo>
                  <a:pt x="3781" y="1678"/>
                  <a:pt x="3780" y="1673"/>
                  <a:pt x="3792" y="1658"/>
                </a:cubicBezTo>
                <a:cubicBezTo>
                  <a:pt x="3805" y="1643"/>
                  <a:pt x="3798" y="1617"/>
                  <a:pt x="3798" y="1617"/>
                </a:cubicBezTo>
                <a:cubicBezTo>
                  <a:pt x="3818" y="1606"/>
                  <a:pt x="3818" y="1606"/>
                  <a:pt x="3818" y="1606"/>
                </a:cubicBezTo>
                <a:cubicBezTo>
                  <a:pt x="3818" y="1606"/>
                  <a:pt x="3818" y="1587"/>
                  <a:pt x="3823" y="1581"/>
                </a:cubicBezTo>
                <a:cubicBezTo>
                  <a:pt x="3828" y="1574"/>
                  <a:pt x="3840" y="1570"/>
                  <a:pt x="3849" y="1564"/>
                </a:cubicBezTo>
                <a:cubicBezTo>
                  <a:pt x="3858" y="1558"/>
                  <a:pt x="3859" y="1541"/>
                  <a:pt x="3860" y="1527"/>
                </a:cubicBezTo>
                <a:cubicBezTo>
                  <a:pt x="3860" y="1513"/>
                  <a:pt x="3882" y="1495"/>
                  <a:pt x="3883" y="1494"/>
                </a:cubicBezTo>
                <a:cubicBezTo>
                  <a:pt x="3883" y="1493"/>
                  <a:pt x="3875" y="1478"/>
                  <a:pt x="3875" y="1478"/>
                </a:cubicBezTo>
                <a:cubicBezTo>
                  <a:pt x="3875" y="1478"/>
                  <a:pt x="3911" y="1443"/>
                  <a:pt x="3919" y="1433"/>
                </a:cubicBezTo>
                <a:cubicBezTo>
                  <a:pt x="3927" y="1424"/>
                  <a:pt x="3922" y="1409"/>
                  <a:pt x="3922" y="1409"/>
                </a:cubicBezTo>
                <a:cubicBezTo>
                  <a:pt x="3922" y="1409"/>
                  <a:pt x="3928" y="1407"/>
                  <a:pt x="3936" y="1399"/>
                </a:cubicBezTo>
                <a:cubicBezTo>
                  <a:pt x="3943" y="1391"/>
                  <a:pt x="3944" y="1364"/>
                  <a:pt x="3947" y="1349"/>
                </a:cubicBezTo>
                <a:cubicBezTo>
                  <a:pt x="3950" y="1334"/>
                  <a:pt x="3913" y="1323"/>
                  <a:pt x="3911" y="1321"/>
                </a:cubicBezTo>
                <a:cubicBezTo>
                  <a:pt x="3909" y="1319"/>
                  <a:pt x="3928" y="1328"/>
                  <a:pt x="3933" y="1325"/>
                </a:cubicBezTo>
                <a:cubicBezTo>
                  <a:pt x="3939" y="1321"/>
                  <a:pt x="3940" y="1302"/>
                  <a:pt x="3940" y="1302"/>
                </a:cubicBezTo>
                <a:cubicBezTo>
                  <a:pt x="3911" y="1269"/>
                  <a:pt x="3911" y="1269"/>
                  <a:pt x="3911" y="1269"/>
                </a:cubicBezTo>
                <a:cubicBezTo>
                  <a:pt x="3911" y="1269"/>
                  <a:pt x="3897" y="1265"/>
                  <a:pt x="3891" y="1259"/>
                </a:cubicBezTo>
                <a:cubicBezTo>
                  <a:pt x="3885" y="1252"/>
                  <a:pt x="3884" y="1240"/>
                  <a:pt x="3877" y="1233"/>
                </a:cubicBezTo>
                <a:cubicBezTo>
                  <a:pt x="3870" y="1226"/>
                  <a:pt x="3865" y="1241"/>
                  <a:pt x="3863" y="1242"/>
                </a:cubicBezTo>
                <a:cubicBezTo>
                  <a:pt x="3861" y="1243"/>
                  <a:pt x="3849" y="1228"/>
                  <a:pt x="3839" y="1226"/>
                </a:cubicBezTo>
                <a:cubicBezTo>
                  <a:pt x="3828" y="1225"/>
                  <a:pt x="3827" y="1238"/>
                  <a:pt x="3808" y="1243"/>
                </a:cubicBezTo>
                <a:cubicBezTo>
                  <a:pt x="3788" y="1249"/>
                  <a:pt x="3769" y="1253"/>
                  <a:pt x="3764" y="1255"/>
                </a:cubicBezTo>
                <a:cubicBezTo>
                  <a:pt x="3758" y="1257"/>
                  <a:pt x="3764" y="1259"/>
                  <a:pt x="3769" y="1269"/>
                </a:cubicBezTo>
                <a:cubicBezTo>
                  <a:pt x="3774" y="1279"/>
                  <a:pt x="3743" y="1287"/>
                  <a:pt x="3732" y="1283"/>
                </a:cubicBezTo>
                <a:cubicBezTo>
                  <a:pt x="3721" y="1278"/>
                  <a:pt x="3747" y="1247"/>
                  <a:pt x="3746" y="1237"/>
                </a:cubicBezTo>
                <a:cubicBezTo>
                  <a:pt x="3744" y="1227"/>
                  <a:pt x="3721" y="1226"/>
                  <a:pt x="3721" y="1226"/>
                </a:cubicBezTo>
                <a:cubicBezTo>
                  <a:pt x="3706" y="1239"/>
                  <a:pt x="3706" y="1239"/>
                  <a:pt x="3706" y="1239"/>
                </a:cubicBezTo>
                <a:cubicBezTo>
                  <a:pt x="3708" y="1224"/>
                  <a:pt x="3708" y="1224"/>
                  <a:pt x="3708" y="1224"/>
                </a:cubicBezTo>
                <a:cubicBezTo>
                  <a:pt x="3708" y="1224"/>
                  <a:pt x="3699" y="1229"/>
                  <a:pt x="3695" y="1234"/>
                </a:cubicBezTo>
                <a:cubicBezTo>
                  <a:pt x="3690" y="1238"/>
                  <a:pt x="3673" y="1233"/>
                  <a:pt x="3673" y="1233"/>
                </a:cubicBezTo>
                <a:cubicBezTo>
                  <a:pt x="3673" y="1233"/>
                  <a:pt x="3701" y="1204"/>
                  <a:pt x="3705" y="1197"/>
                </a:cubicBezTo>
                <a:cubicBezTo>
                  <a:pt x="3710" y="1191"/>
                  <a:pt x="3687" y="1180"/>
                  <a:pt x="3683" y="1180"/>
                </a:cubicBezTo>
                <a:cubicBezTo>
                  <a:pt x="3679" y="1179"/>
                  <a:pt x="3663" y="1171"/>
                  <a:pt x="3650" y="1171"/>
                </a:cubicBezTo>
                <a:cubicBezTo>
                  <a:pt x="3637" y="1172"/>
                  <a:pt x="3615" y="1214"/>
                  <a:pt x="3611" y="1224"/>
                </a:cubicBezTo>
                <a:cubicBezTo>
                  <a:pt x="3607" y="1233"/>
                  <a:pt x="3594" y="1259"/>
                  <a:pt x="3591" y="1265"/>
                </a:cubicBezTo>
                <a:cubicBezTo>
                  <a:pt x="3588" y="1272"/>
                  <a:pt x="3604" y="1285"/>
                  <a:pt x="3604" y="1285"/>
                </a:cubicBezTo>
                <a:cubicBezTo>
                  <a:pt x="3604" y="1285"/>
                  <a:pt x="3617" y="1315"/>
                  <a:pt x="3599" y="1316"/>
                </a:cubicBezTo>
                <a:cubicBezTo>
                  <a:pt x="3582" y="1318"/>
                  <a:pt x="3556" y="1314"/>
                  <a:pt x="3552" y="1322"/>
                </a:cubicBezTo>
                <a:cubicBezTo>
                  <a:pt x="3548" y="1330"/>
                  <a:pt x="3567" y="1336"/>
                  <a:pt x="3567" y="1336"/>
                </a:cubicBezTo>
                <a:cubicBezTo>
                  <a:pt x="3567" y="1336"/>
                  <a:pt x="3577" y="1358"/>
                  <a:pt x="3576" y="1360"/>
                </a:cubicBezTo>
                <a:cubicBezTo>
                  <a:pt x="3575" y="1361"/>
                  <a:pt x="3553" y="1350"/>
                  <a:pt x="3545" y="1352"/>
                </a:cubicBezTo>
                <a:cubicBezTo>
                  <a:pt x="3537" y="1354"/>
                  <a:pt x="3529" y="1375"/>
                  <a:pt x="3529" y="1375"/>
                </a:cubicBezTo>
                <a:cubicBezTo>
                  <a:pt x="3516" y="1368"/>
                  <a:pt x="3516" y="1368"/>
                  <a:pt x="3516" y="1368"/>
                </a:cubicBezTo>
                <a:cubicBezTo>
                  <a:pt x="3505" y="1390"/>
                  <a:pt x="3505" y="1390"/>
                  <a:pt x="3505" y="1390"/>
                </a:cubicBezTo>
                <a:cubicBezTo>
                  <a:pt x="3496" y="1380"/>
                  <a:pt x="3496" y="1380"/>
                  <a:pt x="3496" y="1380"/>
                </a:cubicBezTo>
                <a:cubicBezTo>
                  <a:pt x="3482" y="1389"/>
                  <a:pt x="3482" y="1389"/>
                  <a:pt x="3482" y="1389"/>
                </a:cubicBezTo>
                <a:cubicBezTo>
                  <a:pt x="3482" y="1389"/>
                  <a:pt x="3483" y="1379"/>
                  <a:pt x="3483" y="1371"/>
                </a:cubicBezTo>
                <a:cubicBezTo>
                  <a:pt x="3483" y="1363"/>
                  <a:pt x="3455" y="1365"/>
                  <a:pt x="3452" y="1368"/>
                </a:cubicBezTo>
                <a:cubicBezTo>
                  <a:pt x="3448" y="1370"/>
                  <a:pt x="3416" y="1375"/>
                  <a:pt x="3412" y="1379"/>
                </a:cubicBezTo>
                <a:cubicBezTo>
                  <a:pt x="3408" y="1383"/>
                  <a:pt x="3423" y="1396"/>
                  <a:pt x="3423" y="1397"/>
                </a:cubicBezTo>
                <a:cubicBezTo>
                  <a:pt x="3424" y="1399"/>
                  <a:pt x="3381" y="1413"/>
                  <a:pt x="3381" y="1413"/>
                </a:cubicBezTo>
                <a:cubicBezTo>
                  <a:pt x="3376" y="1424"/>
                  <a:pt x="3376" y="1424"/>
                  <a:pt x="3376" y="1424"/>
                </a:cubicBezTo>
                <a:cubicBezTo>
                  <a:pt x="3376" y="1424"/>
                  <a:pt x="3368" y="1425"/>
                  <a:pt x="3338" y="1426"/>
                </a:cubicBezTo>
                <a:cubicBezTo>
                  <a:pt x="3309" y="1427"/>
                  <a:pt x="3285" y="1473"/>
                  <a:pt x="3279" y="1476"/>
                </a:cubicBezTo>
                <a:cubicBezTo>
                  <a:pt x="3273" y="1478"/>
                  <a:pt x="3252" y="1468"/>
                  <a:pt x="3246" y="1471"/>
                </a:cubicBezTo>
                <a:cubicBezTo>
                  <a:pt x="3240" y="1475"/>
                  <a:pt x="3261" y="1486"/>
                  <a:pt x="3261" y="1486"/>
                </a:cubicBezTo>
                <a:cubicBezTo>
                  <a:pt x="3261" y="1486"/>
                  <a:pt x="3238" y="1491"/>
                  <a:pt x="3235" y="1493"/>
                </a:cubicBezTo>
                <a:cubicBezTo>
                  <a:pt x="3232" y="1496"/>
                  <a:pt x="3250" y="1508"/>
                  <a:pt x="3250" y="1508"/>
                </a:cubicBezTo>
                <a:cubicBezTo>
                  <a:pt x="3250" y="1508"/>
                  <a:pt x="3240" y="1525"/>
                  <a:pt x="3239" y="1534"/>
                </a:cubicBezTo>
                <a:cubicBezTo>
                  <a:pt x="3238" y="1542"/>
                  <a:pt x="3250" y="1558"/>
                  <a:pt x="3250" y="1558"/>
                </a:cubicBezTo>
                <a:cubicBezTo>
                  <a:pt x="3250" y="1558"/>
                  <a:pt x="3231" y="1547"/>
                  <a:pt x="3225" y="1547"/>
                </a:cubicBezTo>
                <a:cubicBezTo>
                  <a:pt x="3220" y="1547"/>
                  <a:pt x="3222" y="1558"/>
                  <a:pt x="3222" y="1558"/>
                </a:cubicBezTo>
                <a:cubicBezTo>
                  <a:pt x="3222" y="1558"/>
                  <a:pt x="3247" y="1585"/>
                  <a:pt x="3248" y="1587"/>
                </a:cubicBezTo>
                <a:cubicBezTo>
                  <a:pt x="3249" y="1589"/>
                  <a:pt x="3248" y="1598"/>
                  <a:pt x="3248" y="1603"/>
                </a:cubicBezTo>
                <a:cubicBezTo>
                  <a:pt x="3248" y="1609"/>
                  <a:pt x="3219" y="1607"/>
                  <a:pt x="3218" y="1607"/>
                </a:cubicBezTo>
                <a:cubicBezTo>
                  <a:pt x="3217" y="1607"/>
                  <a:pt x="3195" y="1617"/>
                  <a:pt x="3192" y="1620"/>
                </a:cubicBezTo>
                <a:cubicBezTo>
                  <a:pt x="3189" y="1622"/>
                  <a:pt x="3175" y="1609"/>
                  <a:pt x="3171" y="1609"/>
                </a:cubicBezTo>
                <a:cubicBezTo>
                  <a:pt x="3167" y="1609"/>
                  <a:pt x="3133" y="1618"/>
                  <a:pt x="3132" y="1620"/>
                </a:cubicBezTo>
                <a:cubicBezTo>
                  <a:pt x="3131" y="1621"/>
                  <a:pt x="3073" y="1614"/>
                  <a:pt x="3057" y="1620"/>
                </a:cubicBezTo>
                <a:cubicBezTo>
                  <a:pt x="3041" y="1626"/>
                  <a:pt x="3045" y="1657"/>
                  <a:pt x="3045" y="1657"/>
                </a:cubicBezTo>
                <a:cubicBezTo>
                  <a:pt x="3045" y="1657"/>
                  <a:pt x="3054" y="1668"/>
                  <a:pt x="3056" y="1675"/>
                </a:cubicBezTo>
                <a:cubicBezTo>
                  <a:pt x="3059" y="1683"/>
                  <a:pt x="3045" y="1708"/>
                  <a:pt x="3045" y="1725"/>
                </a:cubicBezTo>
                <a:cubicBezTo>
                  <a:pt x="3046" y="1741"/>
                  <a:pt x="3084" y="1749"/>
                  <a:pt x="3089" y="1758"/>
                </a:cubicBezTo>
                <a:cubicBezTo>
                  <a:pt x="3094" y="1768"/>
                  <a:pt x="3098" y="1799"/>
                  <a:pt x="3099" y="1803"/>
                </a:cubicBezTo>
                <a:cubicBezTo>
                  <a:pt x="3100" y="1806"/>
                  <a:pt x="3099" y="1813"/>
                  <a:pt x="3082" y="1814"/>
                </a:cubicBezTo>
                <a:cubicBezTo>
                  <a:pt x="3065" y="1815"/>
                  <a:pt x="3045" y="1787"/>
                  <a:pt x="3045" y="1787"/>
                </a:cubicBezTo>
                <a:cubicBezTo>
                  <a:pt x="3038" y="1768"/>
                  <a:pt x="3038" y="1768"/>
                  <a:pt x="3038" y="1768"/>
                </a:cubicBezTo>
                <a:cubicBezTo>
                  <a:pt x="3038" y="1768"/>
                  <a:pt x="3024" y="1758"/>
                  <a:pt x="3003" y="1739"/>
                </a:cubicBezTo>
                <a:cubicBezTo>
                  <a:pt x="2982" y="1721"/>
                  <a:pt x="2990" y="1730"/>
                  <a:pt x="2978" y="1729"/>
                </a:cubicBezTo>
                <a:cubicBezTo>
                  <a:pt x="2966" y="1727"/>
                  <a:pt x="2960" y="1736"/>
                  <a:pt x="2953" y="1738"/>
                </a:cubicBezTo>
                <a:cubicBezTo>
                  <a:pt x="2947" y="1740"/>
                  <a:pt x="2942" y="1748"/>
                  <a:pt x="2942" y="1749"/>
                </a:cubicBezTo>
                <a:cubicBezTo>
                  <a:pt x="2942" y="1750"/>
                  <a:pt x="2957" y="1754"/>
                  <a:pt x="2957" y="1754"/>
                </a:cubicBezTo>
                <a:cubicBezTo>
                  <a:pt x="2957" y="1754"/>
                  <a:pt x="2961" y="1767"/>
                  <a:pt x="2960" y="1776"/>
                </a:cubicBezTo>
                <a:cubicBezTo>
                  <a:pt x="2959" y="1784"/>
                  <a:pt x="2950" y="1780"/>
                  <a:pt x="2942" y="1779"/>
                </a:cubicBezTo>
                <a:cubicBezTo>
                  <a:pt x="2934" y="1778"/>
                  <a:pt x="2906" y="1752"/>
                  <a:pt x="2899" y="1755"/>
                </a:cubicBezTo>
                <a:cubicBezTo>
                  <a:pt x="2891" y="1757"/>
                  <a:pt x="2892" y="1794"/>
                  <a:pt x="2892" y="1796"/>
                </a:cubicBezTo>
                <a:cubicBezTo>
                  <a:pt x="2892" y="1797"/>
                  <a:pt x="2928" y="1830"/>
                  <a:pt x="2928" y="1830"/>
                </a:cubicBezTo>
                <a:cubicBezTo>
                  <a:pt x="2928" y="1830"/>
                  <a:pt x="2940" y="1839"/>
                  <a:pt x="2952" y="1852"/>
                </a:cubicBezTo>
                <a:cubicBezTo>
                  <a:pt x="2964" y="1865"/>
                  <a:pt x="2964" y="1877"/>
                  <a:pt x="2955" y="1879"/>
                </a:cubicBezTo>
                <a:cubicBezTo>
                  <a:pt x="2947" y="1881"/>
                  <a:pt x="2932" y="1856"/>
                  <a:pt x="2928" y="1847"/>
                </a:cubicBezTo>
                <a:cubicBezTo>
                  <a:pt x="2925" y="1838"/>
                  <a:pt x="2919" y="1845"/>
                  <a:pt x="2906" y="1844"/>
                </a:cubicBezTo>
                <a:cubicBezTo>
                  <a:pt x="2894" y="1842"/>
                  <a:pt x="2857" y="1811"/>
                  <a:pt x="2857" y="1811"/>
                </a:cubicBezTo>
                <a:cubicBezTo>
                  <a:pt x="2870" y="1785"/>
                  <a:pt x="2870" y="1785"/>
                  <a:pt x="2870" y="1785"/>
                </a:cubicBezTo>
                <a:cubicBezTo>
                  <a:pt x="2870" y="1785"/>
                  <a:pt x="2864" y="1776"/>
                  <a:pt x="2861" y="1772"/>
                </a:cubicBezTo>
                <a:cubicBezTo>
                  <a:pt x="2858" y="1769"/>
                  <a:pt x="2882" y="1737"/>
                  <a:pt x="2889" y="1729"/>
                </a:cubicBezTo>
                <a:cubicBezTo>
                  <a:pt x="2896" y="1720"/>
                  <a:pt x="2892" y="1671"/>
                  <a:pt x="2892" y="1670"/>
                </a:cubicBezTo>
                <a:cubicBezTo>
                  <a:pt x="2892" y="1669"/>
                  <a:pt x="2878" y="1663"/>
                  <a:pt x="2878" y="1663"/>
                </a:cubicBezTo>
                <a:cubicBezTo>
                  <a:pt x="2878" y="1663"/>
                  <a:pt x="2873" y="1709"/>
                  <a:pt x="2873" y="1720"/>
                </a:cubicBezTo>
                <a:cubicBezTo>
                  <a:pt x="2873" y="1731"/>
                  <a:pt x="2858" y="1738"/>
                  <a:pt x="2849" y="1744"/>
                </a:cubicBezTo>
                <a:cubicBezTo>
                  <a:pt x="2840" y="1751"/>
                  <a:pt x="2821" y="1748"/>
                  <a:pt x="2818" y="1748"/>
                </a:cubicBezTo>
                <a:cubicBezTo>
                  <a:pt x="2815" y="1748"/>
                  <a:pt x="2812" y="1768"/>
                  <a:pt x="2812" y="1768"/>
                </a:cubicBezTo>
                <a:cubicBezTo>
                  <a:pt x="2812" y="1768"/>
                  <a:pt x="2787" y="1785"/>
                  <a:pt x="2787" y="1787"/>
                </a:cubicBezTo>
                <a:cubicBezTo>
                  <a:pt x="2786" y="1788"/>
                  <a:pt x="2798" y="1807"/>
                  <a:pt x="2798" y="1807"/>
                </a:cubicBezTo>
                <a:cubicBezTo>
                  <a:pt x="2798" y="1807"/>
                  <a:pt x="2801" y="1832"/>
                  <a:pt x="2805" y="1848"/>
                </a:cubicBezTo>
                <a:cubicBezTo>
                  <a:pt x="2810" y="1865"/>
                  <a:pt x="2809" y="1884"/>
                  <a:pt x="2809" y="1884"/>
                </a:cubicBezTo>
                <a:cubicBezTo>
                  <a:pt x="2809" y="1884"/>
                  <a:pt x="2768" y="1938"/>
                  <a:pt x="2764" y="1958"/>
                </a:cubicBezTo>
                <a:cubicBezTo>
                  <a:pt x="2760" y="1978"/>
                  <a:pt x="2767" y="1968"/>
                  <a:pt x="2772" y="1981"/>
                </a:cubicBezTo>
                <a:cubicBezTo>
                  <a:pt x="2776" y="1995"/>
                  <a:pt x="2755" y="2017"/>
                  <a:pt x="2756" y="2018"/>
                </a:cubicBezTo>
                <a:cubicBezTo>
                  <a:pt x="2756" y="2020"/>
                  <a:pt x="2777" y="2022"/>
                  <a:pt x="2782" y="2022"/>
                </a:cubicBezTo>
                <a:cubicBezTo>
                  <a:pt x="2787" y="2022"/>
                  <a:pt x="2787" y="2032"/>
                  <a:pt x="2798" y="2034"/>
                </a:cubicBezTo>
                <a:cubicBezTo>
                  <a:pt x="2809" y="2037"/>
                  <a:pt x="2818" y="2019"/>
                  <a:pt x="2823" y="2019"/>
                </a:cubicBezTo>
                <a:cubicBezTo>
                  <a:pt x="2828" y="2019"/>
                  <a:pt x="2889" y="2073"/>
                  <a:pt x="2889" y="2073"/>
                </a:cubicBezTo>
                <a:cubicBezTo>
                  <a:pt x="2889" y="2073"/>
                  <a:pt x="2894" y="2104"/>
                  <a:pt x="2892" y="2137"/>
                </a:cubicBezTo>
                <a:cubicBezTo>
                  <a:pt x="2870" y="2139"/>
                  <a:pt x="2869" y="2155"/>
                  <a:pt x="2863" y="2165"/>
                </a:cubicBezTo>
                <a:cubicBezTo>
                  <a:pt x="2857" y="2175"/>
                  <a:pt x="2868" y="2177"/>
                  <a:pt x="2875" y="2186"/>
                </a:cubicBezTo>
                <a:cubicBezTo>
                  <a:pt x="2882" y="2196"/>
                  <a:pt x="2901" y="2204"/>
                  <a:pt x="2901" y="2204"/>
                </a:cubicBezTo>
                <a:cubicBezTo>
                  <a:pt x="2901" y="2204"/>
                  <a:pt x="2894" y="2206"/>
                  <a:pt x="2878" y="2206"/>
                </a:cubicBezTo>
                <a:cubicBezTo>
                  <a:pt x="2863" y="2206"/>
                  <a:pt x="2850" y="2185"/>
                  <a:pt x="2847" y="2179"/>
                </a:cubicBezTo>
                <a:cubicBezTo>
                  <a:pt x="2844" y="2173"/>
                  <a:pt x="2853" y="2155"/>
                  <a:pt x="2854" y="2149"/>
                </a:cubicBezTo>
                <a:cubicBezTo>
                  <a:pt x="2855" y="2142"/>
                  <a:pt x="2870" y="2136"/>
                  <a:pt x="2870" y="2136"/>
                </a:cubicBezTo>
                <a:cubicBezTo>
                  <a:pt x="2857" y="2124"/>
                  <a:pt x="2857" y="2124"/>
                  <a:pt x="2857" y="2124"/>
                </a:cubicBezTo>
                <a:cubicBezTo>
                  <a:pt x="2857" y="2124"/>
                  <a:pt x="2867" y="2115"/>
                  <a:pt x="2868" y="2107"/>
                </a:cubicBezTo>
                <a:cubicBezTo>
                  <a:pt x="2868" y="2099"/>
                  <a:pt x="2849" y="2081"/>
                  <a:pt x="2849" y="2081"/>
                </a:cubicBezTo>
                <a:cubicBezTo>
                  <a:pt x="2849" y="2081"/>
                  <a:pt x="2844" y="2055"/>
                  <a:pt x="2844" y="2054"/>
                </a:cubicBezTo>
                <a:cubicBezTo>
                  <a:pt x="2844" y="2052"/>
                  <a:pt x="2784" y="2061"/>
                  <a:pt x="2774" y="2063"/>
                </a:cubicBezTo>
                <a:cubicBezTo>
                  <a:pt x="2764" y="2065"/>
                  <a:pt x="2762" y="2092"/>
                  <a:pt x="2761" y="2099"/>
                </a:cubicBezTo>
                <a:cubicBezTo>
                  <a:pt x="2760" y="2106"/>
                  <a:pt x="2762" y="2107"/>
                  <a:pt x="2768" y="2112"/>
                </a:cubicBezTo>
                <a:cubicBezTo>
                  <a:pt x="2773" y="2118"/>
                  <a:pt x="2769" y="2146"/>
                  <a:pt x="2768" y="2155"/>
                </a:cubicBezTo>
                <a:cubicBezTo>
                  <a:pt x="2768" y="2164"/>
                  <a:pt x="2751" y="2171"/>
                  <a:pt x="2742" y="2176"/>
                </a:cubicBezTo>
                <a:cubicBezTo>
                  <a:pt x="2733" y="2180"/>
                  <a:pt x="2724" y="2197"/>
                  <a:pt x="2724" y="2206"/>
                </a:cubicBezTo>
                <a:cubicBezTo>
                  <a:pt x="2724" y="2215"/>
                  <a:pt x="2709" y="2232"/>
                  <a:pt x="2695" y="2237"/>
                </a:cubicBezTo>
                <a:cubicBezTo>
                  <a:pt x="2681" y="2242"/>
                  <a:pt x="2676" y="2248"/>
                  <a:pt x="2676" y="2248"/>
                </a:cubicBezTo>
                <a:cubicBezTo>
                  <a:pt x="2651" y="2253"/>
                  <a:pt x="2651" y="2253"/>
                  <a:pt x="2651" y="2253"/>
                </a:cubicBezTo>
                <a:cubicBezTo>
                  <a:pt x="2651" y="2253"/>
                  <a:pt x="2640" y="2274"/>
                  <a:pt x="2626" y="2280"/>
                </a:cubicBezTo>
                <a:cubicBezTo>
                  <a:pt x="2613" y="2286"/>
                  <a:pt x="2602" y="2258"/>
                  <a:pt x="2602" y="2258"/>
                </a:cubicBezTo>
                <a:cubicBezTo>
                  <a:pt x="2602" y="2258"/>
                  <a:pt x="2574" y="2261"/>
                  <a:pt x="2558" y="2254"/>
                </a:cubicBezTo>
                <a:cubicBezTo>
                  <a:pt x="2541" y="2247"/>
                  <a:pt x="2555" y="2230"/>
                  <a:pt x="2555" y="2230"/>
                </a:cubicBezTo>
                <a:cubicBezTo>
                  <a:pt x="2544" y="2230"/>
                  <a:pt x="2544" y="2230"/>
                  <a:pt x="2544" y="2230"/>
                </a:cubicBezTo>
                <a:cubicBezTo>
                  <a:pt x="2539" y="2219"/>
                  <a:pt x="2539" y="2219"/>
                  <a:pt x="2539" y="2219"/>
                </a:cubicBezTo>
                <a:cubicBezTo>
                  <a:pt x="2539" y="2219"/>
                  <a:pt x="2533" y="2224"/>
                  <a:pt x="2522" y="2217"/>
                </a:cubicBezTo>
                <a:cubicBezTo>
                  <a:pt x="2511" y="2209"/>
                  <a:pt x="2521" y="2195"/>
                  <a:pt x="2526" y="2190"/>
                </a:cubicBezTo>
                <a:cubicBezTo>
                  <a:pt x="2531" y="2185"/>
                  <a:pt x="2533" y="2197"/>
                  <a:pt x="2540" y="2201"/>
                </a:cubicBezTo>
                <a:cubicBezTo>
                  <a:pt x="2547" y="2205"/>
                  <a:pt x="2561" y="2209"/>
                  <a:pt x="2564" y="2212"/>
                </a:cubicBezTo>
                <a:cubicBezTo>
                  <a:pt x="2566" y="2214"/>
                  <a:pt x="2580" y="2226"/>
                  <a:pt x="2583" y="2227"/>
                </a:cubicBezTo>
                <a:cubicBezTo>
                  <a:pt x="2585" y="2228"/>
                  <a:pt x="2585" y="2240"/>
                  <a:pt x="2591" y="2238"/>
                </a:cubicBezTo>
                <a:cubicBezTo>
                  <a:pt x="2597" y="2235"/>
                  <a:pt x="2616" y="2232"/>
                  <a:pt x="2616" y="2232"/>
                </a:cubicBezTo>
                <a:cubicBezTo>
                  <a:pt x="2595" y="2219"/>
                  <a:pt x="2595" y="2219"/>
                  <a:pt x="2595" y="2219"/>
                </a:cubicBezTo>
                <a:cubicBezTo>
                  <a:pt x="2595" y="2219"/>
                  <a:pt x="2603" y="2216"/>
                  <a:pt x="2614" y="2211"/>
                </a:cubicBezTo>
                <a:cubicBezTo>
                  <a:pt x="2625" y="2205"/>
                  <a:pt x="2639" y="2207"/>
                  <a:pt x="2639" y="2207"/>
                </a:cubicBezTo>
                <a:cubicBezTo>
                  <a:pt x="2645" y="2188"/>
                  <a:pt x="2684" y="2156"/>
                  <a:pt x="2684" y="2156"/>
                </a:cubicBezTo>
                <a:cubicBezTo>
                  <a:pt x="2684" y="2156"/>
                  <a:pt x="2693" y="2158"/>
                  <a:pt x="2702" y="2149"/>
                </a:cubicBezTo>
                <a:cubicBezTo>
                  <a:pt x="2712" y="2139"/>
                  <a:pt x="2704" y="2118"/>
                  <a:pt x="2708" y="2108"/>
                </a:cubicBezTo>
                <a:cubicBezTo>
                  <a:pt x="2712" y="2098"/>
                  <a:pt x="2733" y="2080"/>
                  <a:pt x="2735" y="2073"/>
                </a:cubicBezTo>
                <a:cubicBezTo>
                  <a:pt x="2737" y="2065"/>
                  <a:pt x="2710" y="2028"/>
                  <a:pt x="2710" y="2015"/>
                </a:cubicBezTo>
                <a:cubicBezTo>
                  <a:pt x="2710" y="2002"/>
                  <a:pt x="2725" y="1963"/>
                  <a:pt x="2733" y="1949"/>
                </a:cubicBezTo>
                <a:cubicBezTo>
                  <a:pt x="2742" y="1935"/>
                  <a:pt x="2738" y="1896"/>
                  <a:pt x="2742" y="1888"/>
                </a:cubicBezTo>
                <a:cubicBezTo>
                  <a:pt x="2746" y="1879"/>
                  <a:pt x="2758" y="1861"/>
                  <a:pt x="2762" y="1857"/>
                </a:cubicBezTo>
                <a:cubicBezTo>
                  <a:pt x="2765" y="1852"/>
                  <a:pt x="2764" y="1810"/>
                  <a:pt x="2764" y="1810"/>
                </a:cubicBezTo>
                <a:cubicBezTo>
                  <a:pt x="2764" y="1810"/>
                  <a:pt x="2742" y="1782"/>
                  <a:pt x="2750" y="1776"/>
                </a:cubicBezTo>
                <a:cubicBezTo>
                  <a:pt x="2758" y="1771"/>
                  <a:pt x="2796" y="1715"/>
                  <a:pt x="2801" y="1706"/>
                </a:cubicBezTo>
                <a:cubicBezTo>
                  <a:pt x="2805" y="1698"/>
                  <a:pt x="2805" y="1689"/>
                  <a:pt x="2805" y="1689"/>
                </a:cubicBezTo>
                <a:cubicBezTo>
                  <a:pt x="2805" y="1689"/>
                  <a:pt x="2806" y="1674"/>
                  <a:pt x="2809" y="1656"/>
                </a:cubicBezTo>
                <a:cubicBezTo>
                  <a:pt x="2811" y="1638"/>
                  <a:pt x="2749" y="1624"/>
                  <a:pt x="2733" y="1619"/>
                </a:cubicBezTo>
                <a:cubicBezTo>
                  <a:pt x="2719" y="1614"/>
                  <a:pt x="2723" y="1608"/>
                  <a:pt x="2724" y="1607"/>
                </a:cubicBezTo>
                <a:cubicBezTo>
                  <a:pt x="2723" y="1608"/>
                  <a:pt x="2718" y="1614"/>
                  <a:pt x="2715" y="1615"/>
                </a:cubicBezTo>
                <a:cubicBezTo>
                  <a:pt x="2702" y="1624"/>
                  <a:pt x="2662" y="1708"/>
                  <a:pt x="2652" y="1720"/>
                </a:cubicBezTo>
                <a:cubicBezTo>
                  <a:pt x="2642" y="1731"/>
                  <a:pt x="2599" y="1749"/>
                  <a:pt x="2593" y="1753"/>
                </a:cubicBezTo>
                <a:cubicBezTo>
                  <a:pt x="2586" y="1756"/>
                  <a:pt x="2573" y="1778"/>
                  <a:pt x="2571" y="1787"/>
                </a:cubicBezTo>
                <a:cubicBezTo>
                  <a:pt x="2569" y="1796"/>
                  <a:pt x="2589" y="1794"/>
                  <a:pt x="2593" y="1799"/>
                </a:cubicBezTo>
                <a:cubicBezTo>
                  <a:pt x="2596" y="1804"/>
                  <a:pt x="2583" y="1810"/>
                  <a:pt x="2575" y="1825"/>
                </a:cubicBezTo>
                <a:cubicBezTo>
                  <a:pt x="2566" y="1840"/>
                  <a:pt x="2570" y="1870"/>
                  <a:pt x="2570" y="1870"/>
                </a:cubicBezTo>
                <a:cubicBezTo>
                  <a:pt x="2570" y="1870"/>
                  <a:pt x="2551" y="1872"/>
                  <a:pt x="2542" y="1876"/>
                </a:cubicBezTo>
                <a:cubicBezTo>
                  <a:pt x="2533" y="1881"/>
                  <a:pt x="2535" y="1906"/>
                  <a:pt x="2535" y="1906"/>
                </a:cubicBezTo>
                <a:cubicBezTo>
                  <a:pt x="2544" y="1900"/>
                  <a:pt x="2544" y="1900"/>
                  <a:pt x="2544" y="1900"/>
                </a:cubicBezTo>
                <a:cubicBezTo>
                  <a:pt x="2544" y="1900"/>
                  <a:pt x="2568" y="1924"/>
                  <a:pt x="2572" y="1930"/>
                </a:cubicBezTo>
                <a:cubicBezTo>
                  <a:pt x="2576" y="1936"/>
                  <a:pt x="2568" y="1943"/>
                  <a:pt x="2568" y="1943"/>
                </a:cubicBezTo>
                <a:cubicBezTo>
                  <a:pt x="2568" y="1943"/>
                  <a:pt x="2566" y="1960"/>
                  <a:pt x="2566" y="1981"/>
                </a:cubicBezTo>
                <a:cubicBezTo>
                  <a:pt x="2565" y="2002"/>
                  <a:pt x="2591" y="1997"/>
                  <a:pt x="2591" y="1997"/>
                </a:cubicBezTo>
                <a:cubicBezTo>
                  <a:pt x="2591" y="1997"/>
                  <a:pt x="2565" y="2050"/>
                  <a:pt x="2544" y="2049"/>
                </a:cubicBezTo>
                <a:cubicBezTo>
                  <a:pt x="2523" y="2047"/>
                  <a:pt x="2541" y="2034"/>
                  <a:pt x="2541" y="2034"/>
                </a:cubicBezTo>
                <a:cubicBezTo>
                  <a:pt x="2541" y="2034"/>
                  <a:pt x="2537" y="2022"/>
                  <a:pt x="2527" y="2014"/>
                </a:cubicBezTo>
                <a:cubicBezTo>
                  <a:pt x="2517" y="2006"/>
                  <a:pt x="2519" y="1982"/>
                  <a:pt x="2519" y="1982"/>
                </a:cubicBezTo>
                <a:cubicBezTo>
                  <a:pt x="2519" y="1982"/>
                  <a:pt x="2504" y="1969"/>
                  <a:pt x="2500" y="1964"/>
                </a:cubicBezTo>
                <a:cubicBezTo>
                  <a:pt x="2496" y="1958"/>
                  <a:pt x="2485" y="1943"/>
                  <a:pt x="2485" y="1943"/>
                </a:cubicBezTo>
                <a:cubicBezTo>
                  <a:pt x="2485" y="1943"/>
                  <a:pt x="2474" y="1933"/>
                  <a:pt x="2470" y="1927"/>
                </a:cubicBezTo>
                <a:cubicBezTo>
                  <a:pt x="2465" y="1921"/>
                  <a:pt x="2447" y="1884"/>
                  <a:pt x="2438" y="1869"/>
                </a:cubicBezTo>
                <a:cubicBezTo>
                  <a:pt x="2429" y="1855"/>
                  <a:pt x="2388" y="1833"/>
                  <a:pt x="2372" y="1827"/>
                </a:cubicBezTo>
                <a:cubicBezTo>
                  <a:pt x="2356" y="1821"/>
                  <a:pt x="2354" y="1805"/>
                  <a:pt x="2354" y="1805"/>
                </a:cubicBezTo>
                <a:cubicBezTo>
                  <a:pt x="2354" y="1805"/>
                  <a:pt x="2341" y="1812"/>
                  <a:pt x="2335" y="1816"/>
                </a:cubicBezTo>
                <a:cubicBezTo>
                  <a:pt x="2330" y="1819"/>
                  <a:pt x="2321" y="1813"/>
                  <a:pt x="2321" y="1813"/>
                </a:cubicBezTo>
                <a:cubicBezTo>
                  <a:pt x="2321" y="1813"/>
                  <a:pt x="2318" y="1838"/>
                  <a:pt x="2318" y="1850"/>
                </a:cubicBezTo>
                <a:cubicBezTo>
                  <a:pt x="2318" y="1861"/>
                  <a:pt x="2321" y="1867"/>
                  <a:pt x="2318" y="1878"/>
                </a:cubicBezTo>
                <a:cubicBezTo>
                  <a:pt x="2316" y="1890"/>
                  <a:pt x="2295" y="1902"/>
                  <a:pt x="2292" y="1902"/>
                </a:cubicBezTo>
                <a:cubicBezTo>
                  <a:pt x="2289" y="1903"/>
                  <a:pt x="2277" y="1896"/>
                  <a:pt x="2272" y="1896"/>
                </a:cubicBezTo>
                <a:cubicBezTo>
                  <a:pt x="2267" y="1896"/>
                  <a:pt x="2259" y="1912"/>
                  <a:pt x="2259" y="1912"/>
                </a:cubicBezTo>
                <a:cubicBezTo>
                  <a:pt x="2259" y="1912"/>
                  <a:pt x="2244" y="1898"/>
                  <a:pt x="2246" y="1894"/>
                </a:cubicBezTo>
                <a:cubicBezTo>
                  <a:pt x="2247" y="1889"/>
                  <a:pt x="2261" y="1884"/>
                  <a:pt x="2264" y="1881"/>
                </a:cubicBezTo>
                <a:cubicBezTo>
                  <a:pt x="2266" y="1877"/>
                  <a:pt x="2256" y="1874"/>
                  <a:pt x="2256" y="1874"/>
                </a:cubicBezTo>
                <a:cubicBezTo>
                  <a:pt x="2256" y="1874"/>
                  <a:pt x="2263" y="1857"/>
                  <a:pt x="2251" y="1853"/>
                </a:cubicBezTo>
                <a:cubicBezTo>
                  <a:pt x="2239" y="1848"/>
                  <a:pt x="2221" y="1858"/>
                  <a:pt x="2208" y="1859"/>
                </a:cubicBezTo>
                <a:cubicBezTo>
                  <a:pt x="2195" y="1859"/>
                  <a:pt x="2186" y="1867"/>
                  <a:pt x="2179" y="1868"/>
                </a:cubicBezTo>
                <a:cubicBezTo>
                  <a:pt x="2173" y="1868"/>
                  <a:pt x="2154" y="1844"/>
                  <a:pt x="2147" y="1840"/>
                </a:cubicBezTo>
                <a:cubicBezTo>
                  <a:pt x="2140" y="1836"/>
                  <a:pt x="2116" y="1838"/>
                  <a:pt x="2107" y="1839"/>
                </a:cubicBezTo>
                <a:cubicBezTo>
                  <a:pt x="2097" y="1839"/>
                  <a:pt x="2097" y="1855"/>
                  <a:pt x="2085" y="1855"/>
                </a:cubicBezTo>
                <a:cubicBezTo>
                  <a:pt x="2073" y="1856"/>
                  <a:pt x="2039" y="1826"/>
                  <a:pt x="2039" y="1826"/>
                </a:cubicBezTo>
                <a:cubicBezTo>
                  <a:pt x="2039" y="1826"/>
                  <a:pt x="2039" y="1820"/>
                  <a:pt x="2045" y="1817"/>
                </a:cubicBezTo>
                <a:cubicBezTo>
                  <a:pt x="2050" y="1814"/>
                  <a:pt x="2069" y="1822"/>
                  <a:pt x="2069" y="1822"/>
                </a:cubicBezTo>
                <a:cubicBezTo>
                  <a:pt x="2069" y="1822"/>
                  <a:pt x="2073" y="1806"/>
                  <a:pt x="2072" y="1798"/>
                </a:cubicBezTo>
                <a:cubicBezTo>
                  <a:pt x="2072" y="1789"/>
                  <a:pt x="2112" y="1785"/>
                  <a:pt x="2112" y="1785"/>
                </a:cubicBezTo>
                <a:cubicBezTo>
                  <a:pt x="2112" y="1785"/>
                  <a:pt x="2093" y="1772"/>
                  <a:pt x="2086" y="1770"/>
                </a:cubicBezTo>
                <a:cubicBezTo>
                  <a:pt x="2079" y="1769"/>
                  <a:pt x="2035" y="1775"/>
                  <a:pt x="2034" y="1776"/>
                </a:cubicBezTo>
                <a:cubicBezTo>
                  <a:pt x="2034" y="1778"/>
                  <a:pt x="2022" y="1799"/>
                  <a:pt x="2015" y="1796"/>
                </a:cubicBezTo>
                <a:cubicBezTo>
                  <a:pt x="2008" y="1793"/>
                  <a:pt x="2018" y="1786"/>
                  <a:pt x="2016" y="1778"/>
                </a:cubicBezTo>
                <a:cubicBezTo>
                  <a:pt x="2014" y="1770"/>
                  <a:pt x="1989" y="1778"/>
                  <a:pt x="1989" y="1778"/>
                </a:cubicBezTo>
                <a:cubicBezTo>
                  <a:pt x="1977" y="1764"/>
                  <a:pt x="1977" y="1764"/>
                  <a:pt x="1977" y="1764"/>
                </a:cubicBezTo>
                <a:cubicBezTo>
                  <a:pt x="1977" y="1764"/>
                  <a:pt x="1961" y="1769"/>
                  <a:pt x="1960" y="1770"/>
                </a:cubicBezTo>
                <a:cubicBezTo>
                  <a:pt x="1958" y="1770"/>
                  <a:pt x="1886" y="1778"/>
                  <a:pt x="1886" y="1778"/>
                </a:cubicBezTo>
                <a:cubicBezTo>
                  <a:pt x="1876" y="1767"/>
                  <a:pt x="1876" y="1767"/>
                  <a:pt x="1876" y="1767"/>
                </a:cubicBezTo>
                <a:cubicBezTo>
                  <a:pt x="1866" y="1786"/>
                  <a:pt x="1866" y="1786"/>
                  <a:pt x="1866" y="1786"/>
                </a:cubicBezTo>
                <a:cubicBezTo>
                  <a:pt x="1847" y="1771"/>
                  <a:pt x="1847" y="1771"/>
                  <a:pt x="1847" y="1771"/>
                </a:cubicBezTo>
                <a:cubicBezTo>
                  <a:pt x="1830" y="1770"/>
                  <a:pt x="1830" y="1770"/>
                  <a:pt x="1830" y="1770"/>
                </a:cubicBezTo>
                <a:cubicBezTo>
                  <a:pt x="1830" y="1770"/>
                  <a:pt x="1800" y="1821"/>
                  <a:pt x="1784" y="1822"/>
                </a:cubicBezTo>
                <a:cubicBezTo>
                  <a:pt x="1769" y="1822"/>
                  <a:pt x="1736" y="1798"/>
                  <a:pt x="1730" y="1790"/>
                </a:cubicBezTo>
                <a:cubicBezTo>
                  <a:pt x="1724" y="1781"/>
                  <a:pt x="1734" y="1760"/>
                  <a:pt x="1738" y="1754"/>
                </a:cubicBezTo>
                <a:cubicBezTo>
                  <a:pt x="1742" y="1748"/>
                  <a:pt x="1732" y="1741"/>
                  <a:pt x="1728" y="1725"/>
                </a:cubicBezTo>
                <a:cubicBezTo>
                  <a:pt x="1724" y="1708"/>
                  <a:pt x="1767" y="1705"/>
                  <a:pt x="1767" y="1705"/>
                </a:cubicBezTo>
                <a:cubicBezTo>
                  <a:pt x="1767" y="1705"/>
                  <a:pt x="1802" y="1728"/>
                  <a:pt x="1810" y="1729"/>
                </a:cubicBezTo>
                <a:cubicBezTo>
                  <a:pt x="1818" y="1729"/>
                  <a:pt x="1816" y="1708"/>
                  <a:pt x="1816" y="1708"/>
                </a:cubicBezTo>
                <a:cubicBezTo>
                  <a:pt x="1816" y="1708"/>
                  <a:pt x="1821" y="1700"/>
                  <a:pt x="1823" y="1689"/>
                </a:cubicBezTo>
                <a:cubicBezTo>
                  <a:pt x="1824" y="1678"/>
                  <a:pt x="1815" y="1676"/>
                  <a:pt x="1815" y="1676"/>
                </a:cubicBezTo>
                <a:cubicBezTo>
                  <a:pt x="1815" y="1676"/>
                  <a:pt x="1821" y="1660"/>
                  <a:pt x="1818" y="1642"/>
                </a:cubicBezTo>
                <a:cubicBezTo>
                  <a:pt x="1815" y="1624"/>
                  <a:pt x="1780" y="1615"/>
                  <a:pt x="1774" y="1614"/>
                </a:cubicBezTo>
                <a:cubicBezTo>
                  <a:pt x="1768" y="1612"/>
                  <a:pt x="1773" y="1607"/>
                  <a:pt x="1773" y="1599"/>
                </a:cubicBezTo>
                <a:cubicBezTo>
                  <a:pt x="1773" y="1592"/>
                  <a:pt x="1762" y="1587"/>
                  <a:pt x="1762" y="1587"/>
                </a:cubicBezTo>
                <a:cubicBezTo>
                  <a:pt x="1762" y="1587"/>
                  <a:pt x="1757" y="1596"/>
                  <a:pt x="1758" y="1598"/>
                </a:cubicBezTo>
                <a:cubicBezTo>
                  <a:pt x="1760" y="1600"/>
                  <a:pt x="1762" y="1606"/>
                  <a:pt x="1762" y="1606"/>
                </a:cubicBezTo>
                <a:cubicBezTo>
                  <a:pt x="1762" y="1606"/>
                  <a:pt x="1762" y="1628"/>
                  <a:pt x="1763" y="1640"/>
                </a:cubicBezTo>
                <a:cubicBezTo>
                  <a:pt x="1764" y="1652"/>
                  <a:pt x="1754" y="1655"/>
                  <a:pt x="1736" y="1672"/>
                </a:cubicBezTo>
                <a:cubicBezTo>
                  <a:pt x="1718" y="1690"/>
                  <a:pt x="1691" y="1705"/>
                  <a:pt x="1691" y="1705"/>
                </a:cubicBezTo>
                <a:cubicBezTo>
                  <a:pt x="1691" y="1705"/>
                  <a:pt x="1688" y="1739"/>
                  <a:pt x="1688" y="1751"/>
                </a:cubicBezTo>
                <a:cubicBezTo>
                  <a:pt x="1688" y="1763"/>
                  <a:pt x="1650" y="1783"/>
                  <a:pt x="1646" y="1788"/>
                </a:cubicBezTo>
                <a:cubicBezTo>
                  <a:pt x="1641" y="1794"/>
                  <a:pt x="1618" y="1815"/>
                  <a:pt x="1618" y="1815"/>
                </a:cubicBezTo>
                <a:cubicBezTo>
                  <a:pt x="1629" y="1794"/>
                  <a:pt x="1610" y="1789"/>
                  <a:pt x="1610" y="1789"/>
                </a:cubicBezTo>
                <a:cubicBezTo>
                  <a:pt x="1610" y="1789"/>
                  <a:pt x="1620" y="1777"/>
                  <a:pt x="1623" y="1767"/>
                </a:cubicBezTo>
                <a:cubicBezTo>
                  <a:pt x="1626" y="1758"/>
                  <a:pt x="1620" y="1757"/>
                  <a:pt x="1608" y="1752"/>
                </a:cubicBezTo>
                <a:cubicBezTo>
                  <a:pt x="1596" y="1747"/>
                  <a:pt x="1602" y="1727"/>
                  <a:pt x="1589" y="1723"/>
                </a:cubicBezTo>
                <a:cubicBezTo>
                  <a:pt x="1577" y="1719"/>
                  <a:pt x="1554" y="1739"/>
                  <a:pt x="1546" y="1739"/>
                </a:cubicBezTo>
                <a:cubicBezTo>
                  <a:pt x="1539" y="1739"/>
                  <a:pt x="1522" y="1733"/>
                  <a:pt x="1512" y="1730"/>
                </a:cubicBezTo>
                <a:cubicBezTo>
                  <a:pt x="1503" y="1727"/>
                  <a:pt x="1490" y="1739"/>
                  <a:pt x="1490" y="1739"/>
                </a:cubicBezTo>
                <a:cubicBezTo>
                  <a:pt x="1490" y="1739"/>
                  <a:pt x="1463" y="1734"/>
                  <a:pt x="1451" y="1735"/>
                </a:cubicBezTo>
                <a:cubicBezTo>
                  <a:pt x="1439" y="1736"/>
                  <a:pt x="1439" y="1787"/>
                  <a:pt x="1436" y="1800"/>
                </a:cubicBezTo>
                <a:cubicBezTo>
                  <a:pt x="1434" y="1813"/>
                  <a:pt x="1415" y="1825"/>
                  <a:pt x="1415" y="1825"/>
                </a:cubicBezTo>
                <a:cubicBezTo>
                  <a:pt x="1388" y="1801"/>
                  <a:pt x="1388" y="1801"/>
                  <a:pt x="1388" y="1801"/>
                </a:cubicBezTo>
                <a:cubicBezTo>
                  <a:pt x="1388" y="1801"/>
                  <a:pt x="1385" y="1780"/>
                  <a:pt x="1383" y="1773"/>
                </a:cubicBezTo>
                <a:cubicBezTo>
                  <a:pt x="1380" y="1766"/>
                  <a:pt x="1357" y="1755"/>
                  <a:pt x="1357" y="1755"/>
                </a:cubicBezTo>
                <a:cubicBezTo>
                  <a:pt x="1370" y="1748"/>
                  <a:pt x="1370" y="1748"/>
                  <a:pt x="1370" y="1748"/>
                </a:cubicBezTo>
                <a:cubicBezTo>
                  <a:pt x="1359" y="1735"/>
                  <a:pt x="1359" y="1735"/>
                  <a:pt x="1359" y="1735"/>
                </a:cubicBezTo>
                <a:cubicBezTo>
                  <a:pt x="1359" y="1735"/>
                  <a:pt x="1363" y="1728"/>
                  <a:pt x="1366" y="1716"/>
                </a:cubicBezTo>
                <a:cubicBezTo>
                  <a:pt x="1369" y="1704"/>
                  <a:pt x="1357" y="1688"/>
                  <a:pt x="1350" y="1686"/>
                </a:cubicBezTo>
                <a:cubicBezTo>
                  <a:pt x="1344" y="1683"/>
                  <a:pt x="1336" y="1694"/>
                  <a:pt x="1334" y="1696"/>
                </a:cubicBezTo>
                <a:cubicBezTo>
                  <a:pt x="1331" y="1698"/>
                  <a:pt x="1321" y="1687"/>
                  <a:pt x="1321" y="1687"/>
                </a:cubicBezTo>
                <a:cubicBezTo>
                  <a:pt x="1321" y="1687"/>
                  <a:pt x="1316" y="1693"/>
                  <a:pt x="1310" y="1701"/>
                </a:cubicBezTo>
                <a:cubicBezTo>
                  <a:pt x="1304" y="1709"/>
                  <a:pt x="1310" y="1723"/>
                  <a:pt x="1300" y="1743"/>
                </a:cubicBezTo>
                <a:cubicBezTo>
                  <a:pt x="1290" y="1764"/>
                  <a:pt x="1324" y="1762"/>
                  <a:pt x="1326" y="1768"/>
                </a:cubicBezTo>
                <a:cubicBezTo>
                  <a:pt x="1328" y="1774"/>
                  <a:pt x="1323" y="1799"/>
                  <a:pt x="1296" y="1804"/>
                </a:cubicBezTo>
                <a:cubicBezTo>
                  <a:pt x="1270" y="1809"/>
                  <a:pt x="1251" y="1760"/>
                  <a:pt x="1250" y="1754"/>
                </a:cubicBezTo>
                <a:cubicBezTo>
                  <a:pt x="1249" y="1749"/>
                  <a:pt x="1253" y="1725"/>
                  <a:pt x="1255" y="1713"/>
                </a:cubicBezTo>
                <a:cubicBezTo>
                  <a:pt x="1257" y="1701"/>
                  <a:pt x="1240" y="1692"/>
                  <a:pt x="1237" y="1677"/>
                </a:cubicBezTo>
                <a:cubicBezTo>
                  <a:pt x="1234" y="1661"/>
                  <a:pt x="1263" y="1651"/>
                  <a:pt x="1271" y="1642"/>
                </a:cubicBezTo>
                <a:cubicBezTo>
                  <a:pt x="1280" y="1634"/>
                  <a:pt x="1285" y="1604"/>
                  <a:pt x="1291" y="1598"/>
                </a:cubicBezTo>
                <a:cubicBezTo>
                  <a:pt x="1297" y="1592"/>
                  <a:pt x="1327" y="1583"/>
                  <a:pt x="1339" y="1566"/>
                </a:cubicBezTo>
                <a:cubicBezTo>
                  <a:pt x="1351" y="1548"/>
                  <a:pt x="1326" y="1506"/>
                  <a:pt x="1325" y="1505"/>
                </a:cubicBezTo>
                <a:cubicBezTo>
                  <a:pt x="1325" y="1504"/>
                  <a:pt x="1327" y="1508"/>
                  <a:pt x="1342" y="1505"/>
                </a:cubicBezTo>
                <a:cubicBezTo>
                  <a:pt x="1356" y="1502"/>
                  <a:pt x="1335" y="1471"/>
                  <a:pt x="1335" y="1471"/>
                </a:cubicBezTo>
                <a:cubicBezTo>
                  <a:pt x="1340" y="1444"/>
                  <a:pt x="1340" y="1444"/>
                  <a:pt x="1340" y="1444"/>
                </a:cubicBezTo>
                <a:cubicBezTo>
                  <a:pt x="1340" y="1444"/>
                  <a:pt x="1348" y="1440"/>
                  <a:pt x="1354" y="1434"/>
                </a:cubicBezTo>
                <a:cubicBezTo>
                  <a:pt x="1360" y="1429"/>
                  <a:pt x="1350" y="1410"/>
                  <a:pt x="1350" y="1410"/>
                </a:cubicBezTo>
                <a:cubicBezTo>
                  <a:pt x="1350" y="1410"/>
                  <a:pt x="1363" y="1426"/>
                  <a:pt x="1366" y="1434"/>
                </a:cubicBezTo>
                <a:cubicBezTo>
                  <a:pt x="1370" y="1441"/>
                  <a:pt x="1359" y="1446"/>
                  <a:pt x="1359" y="1447"/>
                </a:cubicBezTo>
                <a:cubicBezTo>
                  <a:pt x="1358" y="1449"/>
                  <a:pt x="1359" y="1469"/>
                  <a:pt x="1361" y="1471"/>
                </a:cubicBezTo>
                <a:cubicBezTo>
                  <a:pt x="1362" y="1473"/>
                  <a:pt x="1372" y="1494"/>
                  <a:pt x="1376" y="1501"/>
                </a:cubicBezTo>
                <a:cubicBezTo>
                  <a:pt x="1380" y="1508"/>
                  <a:pt x="1374" y="1517"/>
                  <a:pt x="1373" y="1519"/>
                </a:cubicBezTo>
                <a:cubicBezTo>
                  <a:pt x="1373" y="1521"/>
                  <a:pt x="1379" y="1524"/>
                  <a:pt x="1385" y="1531"/>
                </a:cubicBezTo>
                <a:cubicBezTo>
                  <a:pt x="1391" y="1539"/>
                  <a:pt x="1392" y="1561"/>
                  <a:pt x="1392" y="1568"/>
                </a:cubicBezTo>
                <a:cubicBezTo>
                  <a:pt x="1392" y="1576"/>
                  <a:pt x="1425" y="1608"/>
                  <a:pt x="1428" y="1614"/>
                </a:cubicBezTo>
                <a:cubicBezTo>
                  <a:pt x="1432" y="1621"/>
                  <a:pt x="1428" y="1625"/>
                  <a:pt x="1442" y="1654"/>
                </a:cubicBezTo>
                <a:cubicBezTo>
                  <a:pt x="1457" y="1684"/>
                  <a:pt x="1509" y="1690"/>
                  <a:pt x="1549" y="1689"/>
                </a:cubicBezTo>
                <a:cubicBezTo>
                  <a:pt x="1589" y="1688"/>
                  <a:pt x="1608" y="1653"/>
                  <a:pt x="1612" y="1651"/>
                </a:cubicBezTo>
                <a:cubicBezTo>
                  <a:pt x="1616" y="1649"/>
                  <a:pt x="1606" y="1639"/>
                  <a:pt x="1606" y="1639"/>
                </a:cubicBezTo>
                <a:cubicBezTo>
                  <a:pt x="1606" y="1639"/>
                  <a:pt x="1630" y="1611"/>
                  <a:pt x="1633" y="1606"/>
                </a:cubicBezTo>
                <a:cubicBezTo>
                  <a:pt x="1635" y="1601"/>
                  <a:pt x="1624" y="1596"/>
                  <a:pt x="1620" y="1592"/>
                </a:cubicBezTo>
                <a:cubicBezTo>
                  <a:pt x="1616" y="1589"/>
                  <a:pt x="1628" y="1578"/>
                  <a:pt x="1628" y="1578"/>
                </a:cubicBezTo>
                <a:cubicBezTo>
                  <a:pt x="1628" y="1548"/>
                  <a:pt x="1628" y="1548"/>
                  <a:pt x="1628" y="1548"/>
                </a:cubicBezTo>
                <a:cubicBezTo>
                  <a:pt x="1617" y="1548"/>
                  <a:pt x="1617" y="1548"/>
                  <a:pt x="1617" y="1548"/>
                </a:cubicBezTo>
                <a:cubicBezTo>
                  <a:pt x="1601" y="1370"/>
                  <a:pt x="1601" y="1370"/>
                  <a:pt x="1601" y="1370"/>
                </a:cubicBezTo>
                <a:cubicBezTo>
                  <a:pt x="1601" y="1370"/>
                  <a:pt x="1591" y="1360"/>
                  <a:pt x="1575" y="1351"/>
                </a:cubicBezTo>
                <a:cubicBezTo>
                  <a:pt x="1558" y="1342"/>
                  <a:pt x="1563" y="1317"/>
                  <a:pt x="1563" y="1317"/>
                </a:cubicBezTo>
                <a:cubicBezTo>
                  <a:pt x="1563" y="1317"/>
                  <a:pt x="1554" y="1316"/>
                  <a:pt x="1548" y="1314"/>
                </a:cubicBezTo>
                <a:cubicBezTo>
                  <a:pt x="1542" y="1312"/>
                  <a:pt x="1534" y="1282"/>
                  <a:pt x="1532" y="1277"/>
                </a:cubicBezTo>
                <a:cubicBezTo>
                  <a:pt x="1530" y="1271"/>
                  <a:pt x="1531" y="1241"/>
                  <a:pt x="1534" y="1241"/>
                </a:cubicBezTo>
                <a:cubicBezTo>
                  <a:pt x="1538" y="1241"/>
                  <a:pt x="1552" y="1270"/>
                  <a:pt x="1552" y="1270"/>
                </a:cubicBezTo>
                <a:cubicBezTo>
                  <a:pt x="1552" y="1270"/>
                  <a:pt x="1561" y="1266"/>
                  <a:pt x="1568" y="1262"/>
                </a:cubicBezTo>
                <a:cubicBezTo>
                  <a:pt x="1574" y="1259"/>
                  <a:pt x="1559" y="1248"/>
                  <a:pt x="1559" y="1248"/>
                </a:cubicBezTo>
                <a:cubicBezTo>
                  <a:pt x="1552" y="1224"/>
                  <a:pt x="1552" y="1224"/>
                  <a:pt x="1552" y="1224"/>
                </a:cubicBezTo>
                <a:cubicBezTo>
                  <a:pt x="1530" y="1229"/>
                  <a:pt x="1530" y="1229"/>
                  <a:pt x="1530" y="1229"/>
                </a:cubicBezTo>
                <a:cubicBezTo>
                  <a:pt x="1520" y="1216"/>
                  <a:pt x="1520" y="1216"/>
                  <a:pt x="1520" y="1216"/>
                </a:cubicBezTo>
                <a:cubicBezTo>
                  <a:pt x="1502" y="1222"/>
                  <a:pt x="1502" y="1222"/>
                  <a:pt x="1502" y="1222"/>
                </a:cubicBezTo>
                <a:cubicBezTo>
                  <a:pt x="1502" y="1222"/>
                  <a:pt x="1480" y="1205"/>
                  <a:pt x="1460" y="1196"/>
                </a:cubicBezTo>
                <a:cubicBezTo>
                  <a:pt x="1441" y="1187"/>
                  <a:pt x="1430" y="1205"/>
                  <a:pt x="1428" y="1205"/>
                </a:cubicBezTo>
                <a:cubicBezTo>
                  <a:pt x="1425" y="1205"/>
                  <a:pt x="1396" y="1200"/>
                  <a:pt x="1396" y="1200"/>
                </a:cubicBezTo>
                <a:cubicBezTo>
                  <a:pt x="1396" y="1200"/>
                  <a:pt x="1394" y="1213"/>
                  <a:pt x="1394" y="1214"/>
                </a:cubicBezTo>
                <a:cubicBezTo>
                  <a:pt x="1394" y="1216"/>
                  <a:pt x="1377" y="1216"/>
                  <a:pt x="1376" y="1217"/>
                </a:cubicBezTo>
                <a:cubicBezTo>
                  <a:pt x="1375" y="1218"/>
                  <a:pt x="1355" y="1237"/>
                  <a:pt x="1345" y="1251"/>
                </a:cubicBezTo>
                <a:cubicBezTo>
                  <a:pt x="1335" y="1265"/>
                  <a:pt x="1354" y="1266"/>
                  <a:pt x="1354" y="1277"/>
                </a:cubicBezTo>
                <a:cubicBezTo>
                  <a:pt x="1354" y="1287"/>
                  <a:pt x="1344" y="1289"/>
                  <a:pt x="1344" y="1294"/>
                </a:cubicBezTo>
                <a:cubicBezTo>
                  <a:pt x="1343" y="1299"/>
                  <a:pt x="1343" y="1315"/>
                  <a:pt x="1334" y="1323"/>
                </a:cubicBezTo>
                <a:cubicBezTo>
                  <a:pt x="1326" y="1332"/>
                  <a:pt x="1293" y="1335"/>
                  <a:pt x="1269" y="1337"/>
                </a:cubicBezTo>
                <a:cubicBezTo>
                  <a:pt x="1245" y="1338"/>
                  <a:pt x="1243" y="1370"/>
                  <a:pt x="1243" y="1370"/>
                </a:cubicBezTo>
                <a:cubicBezTo>
                  <a:pt x="1196" y="1451"/>
                  <a:pt x="1196" y="1451"/>
                  <a:pt x="1196" y="1451"/>
                </a:cubicBezTo>
                <a:cubicBezTo>
                  <a:pt x="1196" y="1451"/>
                  <a:pt x="1179" y="1443"/>
                  <a:pt x="1173" y="1447"/>
                </a:cubicBezTo>
                <a:cubicBezTo>
                  <a:pt x="1167" y="1452"/>
                  <a:pt x="1139" y="1477"/>
                  <a:pt x="1128" y="1481"/>
                </a:cubicBezTo>
                <a:cubicBezTo>
                  <a:pt x="1117" y="1485"/>
                  <a:pt x="1124" y="1500"/>
                  <a:pt x="1123" y="1513"/>
                </a:cubicBezTo>
                <a:cubicBezTo>
                  <a:pt x="1122" y="1527"/>
                  <a:pt x="1101" y="1521"/>
                  <a:pt x="1096" y="1528"/>
                </a:cubicBezTo>
                <a:cubicBezTo>
                  <a:pt x="1091" y="1535"/>
                  <a:pt x="1097" y="1555"/>
                  <a:pt x="1095" y="1564"/>
                </a:cubicBezTo>
                <a:cubicBezTo>
                  <a:pt x="1092" y="1572"/>
                  <a:pt x="1049" y="1574"/>
                  <a:pt x="1041" y="1580"/>
                </a:cubicBezTo>
                <a:cubicBezTo>
                  <a:pt x="1034" y="1586"/>
                  <a:pt x="1038" y="1656"/>
                  <a:pt x="1037" y="1670"/>
                </a:cubicBezTo>
                <a:cubicBezTo>
                  <a:pt x="1037" y="1684"/>
                  <a:pt x="996" y="1690"/>
                  <a:pt x="985" y="1694"/>
                </a:cubicBezTo>
                <a:cubicBezTo>
                  <a:pt x="974" y="1697"/>
                  <a:pt x="817" y="1702"/>
                  <a:pt x="817" y="1702"/>
                </a:cubicBezTo>
                <a:cubicBezTo>
                  <a:pt x="761" y="1701"/>
                  <a:pt x="761" y="1701"/>
                  <a:pt x="761" y="1701"/>
                </a:cubicBezTo>
                <a:cubicBezTo>
                  <a:pt x="785" y="1721"/>
                  <a:pt x="785" y="1721"/>
                  <a:pt x="785" y="1721"/>
                </a:cubicBezTo>
                <a:cubicBezTo>
                  <a:pt x="785" y="1721"/>
                  <a:pt x="769" y="1722"/>
                  <a:pt x="761" y="1727"/>
                </a:cubicBezTo>
                <a:cubicBezTo>
                  <a:pt x="754" y="1731"/>
                  <a:pt x="766" y="1742"/>
                  <a:pt x="766" y="1742"/>
                </a:cubicBezTo>
                <a:cubicBezTo>
                  <a:pt x="766" y="1742"/>
                  <a:pt x="753" y="1755"/>
                  <a:pt x="753" y="1759"/>
                </a:cubicBezTo>
                <a:cubicBezTo>
                  <a:pt x="753" y="1763"/>
                  <a:pt x="780" y="1787"/>
                  <a:pt x="780" y="1787"/>
                </a:cubicBezTo>
                <a:cubicBezTo>
                  <a:pt x="780" y="1787"/>
                  <a:pt x="765" y="1815"/>
                  <a:pt x="764" y="1816"/>
                </a:cubicBezTo>
                <a:cubicBezTo>
                  <a:pt x="763" y="1817"/>
                  <a:pt x="748" y="1777"/>
                  <a:pt x="748" y="1777"/>
                </a:cubicBezTo>
                <a:cubicBezTo>
                  <a:pt x="717" y="1775"/>
                  <a:pt x="717" y="1775"/>
                  <a:pt x="717" y="1775"/>
                </a:cubicBezTo>
                <a:cubicBezTo>
                  <a:pt x="687" y="1753"/>
                  <a:pt x="687" y="1753"/>
                  <a:pt x="687" y="1753"/>
                </a:cubicBezTo>
                <a:cubicBezTo>
                  <a:pt x="675" y="1763"/>
                  <a:pt x="675" y="1763"/>
                  <a:pt x="675" y="1763"/>
                </a:cubicBezTo>
                <a:cubicBezTo>
                  <a:pt x="657" y="1777"/>
                  <a:pt x="657" y="1777"/>
                  <a:pt x="657" y="1777"/>
                </a:cubicBezTo>
                <a:cubicBezTo>
                  <a:pt x="653" y="1782"/>
                  <a:pt x="610" y="1783"/>
                  <a:pt x="610" y="1783"/>
                </a:cubicBezTo>
                <a:cubicBezTo>
                  <a:pt x="610" y="1783"/>
                  <a:pt x="564" y="1819"/>
                  <a:pt x="564" y="1821"/>
                </a:cubicBezTo>
                <a:cubicBezTo>
                  <a:pt x="564" y="1823"/>
                  <a:pt x="555" y="1838"/>
                  <a:pt x="553" y="1846"/>
                </a:cubicBezTo>
                <a:cubicBezTo>
                  <a:pt x="551" y="1853"/>
                  <a:pt x="514" y="1857"/>
                  <a:pt x="514" y="1857"/>
                </a:cubicBezTo>
                <a:cubicBezTo>
                  <a:pt x="514" y="1857"/>
                  <a:pt x="498" y="1888"/>
                  <a:pt x="486" y="1899"/>
                </a:cubicBezTo>
                <a:cubicBezTo>
                  <a:pt x="475" y="1911"/>
                  <a:pt x="460" y="1922"/>
                  <a:pt x="461" y="1927"/>
                </a:cubicBezTo>
                <a:cubicBezTo>
                  <a:pt x="463" y="1932"/>
                  <a:pt x="442" y="1965"/>
                  <a:pt x="436" y="1973"/>
                </a:cubicBezTo>
                <a:cubicBezTo>
                  <a:pt x="429" y="1980"/>
                  <a:pt x="431" y="2005"/>
                  <a:pt x="431" y="2005"/>
                </a:cubicBezTo>
                <a:cubicBezTo>
                  <a:pt x="431" y="2005"/>
                  <a:pt x="450" y="2024"/>
                  <a:pt x="456" y="2031"/>
                </a:cubicBezTo>
                <a:cubicBezTo>
                  <a:pt x="463" y="2037"/>
                  <a:pt x="438" y="2058"/>
                  <a:pt x="438" y="2060"/>
                </a:cubicBezTo>
                <a:cubicBezTo>
                  <a:pt x="439" y="2063"/>
                  <a:pt x="467" y="2072"/>
                  <a:pt x="481" y="2089"/>
                </a:cubicBezTo>
                <a:cubicBezTo>
                  <a:pt x="494" y="2106"/>
                  <a:pt x="473" y="2133"/>
                  <a:pt x="466" y="2139"/>
                </a:cubicBezTo>
                <a:cubicBezTo>
                  <a:pt x="459" y="2144"/>
                  <a:pt x="455" y="2153"/>
                  <a:pt x="449" y="2159"/>
                </a:cubicBezTo>
                <a:cubicBezTo>
                  <a:pt x="443" y="2164"/>
                  <a:pt x="419" y="2168"/>
                  <a:pt x="419" y="2168"/>
                </a:cubicBezTo>
                <a:cubicBezTo>
                  <a:pt x="419" y="2189"/>
                  <a:pt x="419" y="2189"/>
                  <a:pt x="419" y="2189"/>
                </a:cubicBezTo>
                <a:cubicBezTo>
                  <a:pt x="419" y="2189"/>
                  <a:pt x="398" y="2252"/>
                  <a:pt x="396" y="2263"/>
                </a:cubicBezTo>
                <a:cubicBezTo>
                  <a:pt x="395" y="2274"/>
                  <a:pt x="405" y="2290"/>
                  <a:pt x="411" y="2299"/>
                </a:cubicBezTo>
                <a:cubicBezTo>
                  <a:pt x="416" y="2308"/>
                  <a:pt x="392" y="2311"/>
                  <a:pt x="392" y="2311"/>
                </a:cubicBezTo>
                <a:cubicBezTo>
                  <a:pt x="392" y="2311"/>
                  <a:pt x="394" y="2336"/>
                  <a:pt x="398" y="2334"/>
                </a:cubicBezTo>
                <a:cubicBezTo>
                  <a:pt x="402" y="2332"/>
                  <a:pt x="380" y="2344"/>
                  <a:pt x="362" y="2345"/>
                </a:cubicBezTo>
                <a:cubicBezTo>
                  <a:pt x="344" y="2346"/>
                  <a:pt x="340" y="2305"/>
                  <a:pt x="328" y="2298"/>
                </a:cubicBezTo>
                <a:cubicBezTo>
                  <a:pt x="316" y="2292"/>
                  <a:pt x="266" y="2376"/>
                  <a:pt x="266" y="2376"/>
                </a:cubicBezTo>
                <a:cubicBezTo>
                  <a:pt x="274" y="2406"/>
                  <a:pt x="274" y="2406"/>
                  <a:pt x="274" y="2406"/>
                </a:cubicBezTo>
                <a:cubicBezTo>
                  <a:pt x="309" y="2402"/>
                  <a:pt x="309" y="2402"/>
                  <a:pt x="309" y="2402"/>
                </a:cubicBezTo>
                <a:cubicBezTo>
                  <a:pt x="309" y="2402"/>
                  <a:pt x="311" y="2428"/>
                  <a:pt x="315" y="2444"/>
                </a:cubicBezTo>
                <a:cubicBezTo>
                  <a:pt x="319" y="2460"/>
                  <a:pt x="364" y="2453"/>
                  <a:pt x="364" y="2453"/>
                </a:cubicBezTo>
                <a:cubicBezTo>
                  <a:pt x="364" y="2453"/>
                  <a:pt x="366" y="2471"/>
                  <a:pt x="357" y="2487"/>
                </a:cubicBezTo>
                <a:cubicBezTo>
                  <a:pt x="347" y="2502"/>
                  <a:pt x="354" y="2516"/>
                  <a:pt x="354" y="2520"/>
                </a:cubicBezTo>
                <a:cubicBezTo>
                  <a:pt x="354" y="2524"/>
                  <a:pt x="335" y="2519"/>
                  <a:pt x="335" y="2519"/>
                </a:cubicBezTo>
                <a:cubicBezTo>
                  <a:pt x="301" y="2543"/>
                  <a:pt x="301" y="2543"/>
                  <a:pt x="301" y="2543"/>
                </a:cubicBezTo>
                <a:cubicBezTo>
                  <a:pt x="301" y="2543"/>
                  <a:pt x="315" y="2561"/>
                  <a:pt x="316" y="2563"/>
                </a:cubicBezTo>
                <a:cubicBezTo>
                  <a:pt x="317" y="2565"/>
                  <a:pt x="332" y="2611"/>
                  <a:pt x="325" y="2627"/>
                </a:cubicBezTo>
                <a:cubicBezTo>
                  <a:pt x="317" y="2643"/>
                  <a:pt x="307" y="2649"/>
                  <a:pt x="303" y="2667"/>
                </a:cubicBezTo>
                <a:cubicBezTo>
                  <a:pt x="299" y="2686"/>
                  <a:pt x="322" y="2678"/>
                  <a:pt x="325" y="2680"/>
                </a:cubicBezTo>
                <a:cubicBezTo>
                  <a:pt x="328" y="2681"/>
                  <a:pt x="327" y="2692"/>
                  <a:pt x="330" y="2714"/>
                </a:cubicBezTo>
                <a:cubicBezTo>
                  <a:pt x="334" y="2736"/>
                  <a:pt x="374" y="2729"/>
                  <a:pt x="382" y="2739"/>
                </a:cubicBezTo>
                <a:cubicBezTo>
                  <a:pt x="389" y="2749"/>
                  <a:pt x="388" y="2757"/>
                  <a:pt x="382" y="2781"/>
                </a:cubicBezTo>
                <a:cubicBezTo>
                  <a:pt x="377" y="2806"/>
                  <a:pt x="407" y="2828"/>
                  <a:pt x="419" y="2847"/>
                </a:cubicBezTo>
                <a:cubicBezTo>
                  <a:pt x="432" y="2866"/>
                  <a:pt x="433" y="2877"/>
                  <a:pt x="437" y="2895"/>
                </a:cubicBezTo>
                <a:cubicBezTo>
                  <a:pt x="440" y="2914"/>
                  <a:pt x="446" y="2910"/>
                  <a:pt x="444" y="2931"/>
                </a:cubicBezTo>
                <a:cubicBezTo>
                  <a:pt x="442" y="2952"/>
                  <a:pt x="422" y="2945"/>
                  <a:pt x="405" y="2945"/>
                </a:cubicBezTo>
                <a:cubicBezTo>
                  <a:pt x="388" y="2945"/>
                  <a:pt x="411" y="2967"/>
                  <a:pt x="402" y="2962"/>
                </a:cubicBezTo>
                <a:cubicBezTo>
                  <a:pt x="393" y="2957"/>
                  <a:pt x="374" y="2971"/>
                  <a:pt x="374" y="2971"/>
                </a:cubicBezTo>
                <a:cubicBezTo>
                  <a:pt x="367" y="3007"/>
                  <a:pt x="367" y="3007"/>
                  <a:pt x="367" y="3007"/>
                </a:cubicBezTo>
                <a:cubicBezTo>
                  <a:pt x="330" y="3024"/>
                  <a:pt x="330" y="3024"/>
                  <a:pt x="330" y="3024"/>
                </a:cubicBezTo>
                <a:cubicBezTo>
                  <a:pt x="290" y="2991"/>
                  <a:pt x="290" y="2991"/>
                  <a:pt x="290" y="2991"/>
                </a:cubicBezTo>
                <a:cubicBezTo>
                  <a:pt x="265" y="2991"/>
                  <a:pt x="265" y="2991"/>
                  <a:pt x="265" y="2991"/>
                </a:cubicBezTo>
                <a:cubicBezTo>
                  <a:pt x="243" y="2986"/>
                  <a:pt x="243" y="2986"/>
                  <a:pt x="243" y="2986"/>
                </a:cubicBezTo>
                <a:cubicBezTo>
                  <a:pt x="212" y="3010"/>
                  <a:pt x="212" y="3010"/>
                  <a:pt x="212" y="3010"/>
                </a:cubicBezTo>
                <a:cubicBezTo>
                  <a:pt x="258" y="3034"/>
                  <a:pt x="258" y="3034"/>
                  <a:pt x="258" y="3034"/>
                </a:cubicBezTo>
                <a:cubicBezTo>
                  <a:pt x="258" y="3034"/>
                  <a:pt x="268" y="3049"/>
                  <a:pt x="262" y="3059"/>
                </a:cubicBezTo>
                <a:cubicBezTo>
                  <a:pt x="256" y="3069"/>
                  <a:pt x="219" y="3055"/>
                  <a:pt x="217" y="3055"/>
                </a:cubicBezTo>
                <a:cubicBezTo>
                  <a:pt x="215" y="3055"/>
                  <a:pt x="202" y="3041"/>
                  <a:pt x="202" y="3041"/>
                </a:cubicBezTo>
                <a:cubicBezTo>
                  <a:pt x="192" y="3057"/>
                  <a:pt x="192" y="3057"/>
                  <a:pt x="192" y="3057"/>
                </a:cubicBezTo>
                <a:cubicBezTo>
                  <a:pt x="184" y="3042"/>
                  <a:pt x="184" y="3042"/>
                  <a:pt x="184" y="3042"/>
                </a:cubicBezTo>
                <a:cubicBezTo>
                  <a:pt x="156" y="3024"/>
                  <a:pt x="156" y="3024"/>
                  <a:pt x="156" y="3024"/>
                </a:cubicBezTo>
                <a:cubicBezTo>
                  <a:pt x="145" y="3051"/>
                  <a:pt x="145" y="3051"/>
                  <a:pt x="145" y="3051"/>
                </a:cubicBezTo>
                <a:cubicBezTo>
                  <a:pt x="156" y="3058"/>
                  <a:pt x="156" y="3058"/>
                  <a:pt x="156" y="3058"/>
                </a:cubicBezTo>
                <a:cubicBezTo>
                  <a:pt x="156" y="3100"/>
                  <a:pt x="156" y="3100"/>
                  <a:pt x="156" y="3100"/>
                </a:cubicBezTo>
                <a:cubicBezTo>
                  <a:pt x="122" y="3078"/>
                  <a:pt x="122" y="3078"/>
                  <a:pt x="122" y="3078"/>
                </a:cubicBezTo>
                <a:cubicBezTo>
                  <a:pt x="101" y="3092"/>
                  <a:pt x="101" y="3092"/>
                  <a:pt x="101" y="3092"/>
                </a:cubicBezTo>
                <a:cubicBezTo>
                  <a:pt x="80" y="3086"/>
                  <a:pt x="80" y="3086"/>
                  <a:pt x="80" y="3086"/>
                </a:cubicBezTo>
                <a:cubicBezTo>
                  <a:pt x="80" y="3086"/>
                  <a:pt x="73" y="3115"/>
                  <a:pt x="68" y="3117"/>
                </a:cubicBezTo>
                <a:cubicBezTo>
                  <a:pt x="63" y="3120"/>
                  <a:pt x="43" y="3100"/>
                  <a:pt x="40" y="3096"/>
                </a:cubicBezTo>
                <a:cubicBezTo>
                  <a:pt x="38" y="3093"/>
                  <a:pt x="26" y="3068"/>
                  <a:pt x="26" y="3068"/>
                </a:cubicBezTo>
                <a:cubicBezTo>
                  <a:pt x="0" y="3075"/>
                  <a:pt x="0" y="3075"/>
                  <a:pt x="0" y="3075"/>
                </a:cubicBezTo>
                <a:cubicBezTo>
                  <a:pt x="0" y="3075"/>
                  <a:pt x="10" y="3103"/>
                  <a:pt x="17" y="3115"/>
                </a:cubicBezTo>
                <a:cubicBezTo>
                  <a:pt x="23" y="3126"/>
                  <a:pt x="15" y="3135"/>
                  <a:pt x="13" y="3142"/>
                </a:cubicBezTo>
                <a:cubicBezTo>
                  <a:pt x="11" y="3148"/>
                  <a:pt x="25" y="3171"/>
                  <a:pt x="25" y="3171"/>
                </a:cubicBezTo>
                <a:cubicBezTo>
                  <a:pt x="25" y="3171"/>
                  <a:pt x="26" y="3198"/>
                  <a:pt x="26" y="3201"/>
                </a:cubicBezTo>
                <a:cubicBezTo>
                  <a:pt x="26" y="3204"/>
                  <a:pt x="44" y="3226"/>
                  <a:pt x="50" y="3241"/>
                </a:cubicBezTo>
                <a:cubicBezTo>
                  <a:pt x="56" y="3257"/>
                  <a:pt x="53" y="3366"/>
                  <a:pt x="53" y="3366"/>
                </a:cubicBezTo>
                <a:cubicBezTo>
                  <a:pt x="53" y="3366"/>
                  <a:pt x="64" y="3357"/>
                  <a:pt x="78" y="3356"/>
                </a:cubicBezTo>
                <a:cubicBezTo>
                  <a:pt x="92" y="3355"/>
                  <a:pt x="88" y="3377"/>
                  <a:pt x="88" y="3377"/>
                </a:cubicBezTo>
                <a:cubicBezTo>
                  <a:pt x="88" y="3377"/>
                  <a:pt x="102" y="3384"/>
                  <a:pt x="104" y="3386"/>
                </a:cubicBezTo>
                <a:cubicBezTo>
                  <a:pt x="106" y="3388"/>
                  <a:pt x="108" y="3415"/>
                  <a:pt x="108" y="3415"/>
                </a:cubicBezTo>
                <a:cubicBezTo>
                  <a:pt x="108" y="3415"/>
                  <a:pt x="119" y="3426"/>
                  <a:pt x="127" y="3440"/>
                </a:cubicBezTo>
                <a:cubicBezTo>
                  <a:pt x="134" y="3453"/>
                  <a:pt x="168" y="3486"/>
                  <a:pt x="168" y="3486"/>
                </a:cubicBezTo>
                <a:cubicBezTo>
                  <a:pt x="195" y="3508"/>
                  <a:pt x="195" y="3508"/>
                  <a:pt x="195" y="3508"/>
                </a:cubicBezTo>
                <a:cubicBezTo>
                  <a:pt x="195" y="3508"/>
                  <a:pt x="203" y="3540"/>
                  <a:pt x="203" y="3544"/>
                </a:cubicBezTo>
                <a:cubicBezTo>
                  <a:pt x="203" y="3548"/>
                  <a:pt x="212" y="3547"/>
                  <a:pt x="220" y="3561"/>
                </a:cubicBezTo>
                <a:cubicBezTo>
                  <a:pt x="228" y="3575"/>
                  <a:pt x="219" y="3604"/>
                  <a:pt x="219" y="3604"/>
                </a:cubicBezTo>
                <a:cubicBezTo>
                  <a:pt x="219" y="3604"/>
                  <a:pt x="265" y="3616"/>
                  <a:pt x="268" y="3616"/>
                </a:cubicBezTo>
                <a:cubicBezTo>
                  <a:pt x="270" y="3616"/>
                  <a:pt x="279" y="3638"/>
                  <a:pt x="279" y="3638"/>
                </a:cubicBezTo>
                <a:cubicBezTo>
                  <a:pt x="299" y="3650"/>
                  <a:pt x="299" y="3650"/>
                  <a:pt x="299" y="3650"/>
                </a:cubicBezTo>
                <a:cubicBezTo>
                  <a:pt x="302" y="3669"/>
                  <a:pt x="302" y="3669"/>
                  <a:pt x="302" y="3669"/>
                </a:cubicBezTo>
                <a:cubicBezTo>
                  <a:pt x="324" y="3694"/>
                  <a:pt x="324" y="3694"/>
                  <a:pt x="324" y="3694"/>
                </a:cubicBezTo>
                <a:cubicBezTo>
                  <a:pt x="324" y="3694"/>
                  <a:pt x="302" y="3708"/>
                  <a:pt x="302" y="3713"/>
                </a:cubicBezTo>
                <a:cubicBezTo>
                  <a:pt x="302" y="3718"/>
                  <a:pt x="322" y="3766"/>
                  <a:pt x="345" y="3799"/>
                </a:cubicBezTo>
                <a:cubicBezTo>
                  <a:pt x="368" y="3831"/>
                  <a:pt x="350" y="3859"/>
                  <a:pt x="350" y="3859"/>
                </a:cubicBezTo>
                <a:cubicBezTo>
                  <a:pt x="374" y="3886"/>
                  <a:pt x="374" y="3886"/>
                  <a:pt x="374" y="3886"/>
                </a:cubicBezTo>
                <a:cubicBezTo>
                  <a:pt x="396" y="3873"/>
                  <a:pt x="396" y="3873"/>
                  <a:pt x="396" y="3873"/>
                </a:cubicBezTo>
                <a:cubicBezTo>
                  <a:pt x="396" y="3873"/>
                  <a:pt x="423" y="3875"/>
                  <a:pt x="426" y="3875"/>
                </a:cubicBezTo>
                <a:cubicBezTo>
                  <a:pt x="429" y="3875"/>
                  <a:pt x="455" y="3863"/>
                  <a:pt x="455" y="3863"/>
                </a:cubicBezTo>
                <a:cubicBezTo>
                  <a:pt x="453" y="3715"/>
                  <a:pt x="453" y="3715"/>
                  <a:pt x="453" y="3715"/>
                </a:cubicBezTo>
                <a:cubicBezTo>
                  <a:pt x="453" y="3715"/>
                  <a:pt x="473" y="3699"/>
                  <a:pt x="475" y="3699"/>
                </a:cubicBezTo>
                <a:cubicBezTo>
                  <a:pt x="478" y="3699"/>
                  <a:pt x="485" y="3665"/>
                  <a:pt x="493" y="3661"/>
                </a:cubicBezTo>
                <a:cubicBezTo>
                  <a:pt x="500" y="3657"/>
                  <a:pt x="507" y="3621"/>
                  <a:pt x="508" y="3609"/>
                </a:cubicBezTo>
                <a:cubicBezTo>
                  <a:pt x="508" y="3598"/>
                  <a:pt x="489" y="3584"/>
                  <a:pt x="496" y="3565"/>
                </a:cubicBezTo>
                <a:cubicBezTo>
                  <a:pt x="502" y="3545"/>
                  <a:pt x="542" y="3553"/>
                  <a:pt x="557" y="3550"/>
                </a:cubicBezTo>
                <a:cubicBezTo>
                  <a:pt x="572" y="3546"/>
                  <a:pt x="604" y="3507"/>
                  <a:pt x="608" y="3507"/>
                </a:cubicBezTo>
                <a:cubicBezTo>
                  <a:pt x="612" y="3507"/>
                  <a:pt x="643" y="3525"/>
                  <a:pt x="649" y="3528"/>
                </a:cubicBezTo>
                <a:cubicBezTo>
                  <a:pt x="654" y="3532"/>
                  <a:pt x="670" y="3516"/>
                  <a:pt x="670" y="3516"/>
                </a:cubicBezTo>
                <a:cubicBezTo>
                  <a:pt x="677" y="3533"/>
                  <a:pt x="677" y="3533"/>
                  <a:pt x="677" y="3533"/>
                </a:cubicBezTo>
                <a:cubicBezTo>
                  <a:pt x="696" y="3519"/>
                  <a:pt x="696" y="3519"/>
                  <a:pt x="696" y="3519"/>
                </a:cubicBezTo>
                <a:cubicBezTo>
                  <a:pt x="734" y="3510"/>
                  <a:pt x="734" y="3510"/>
                  <a:pt x="734" y="3510"/>
                </a:cubicBezTo>
                <a:cubicBezTo>
                  <a:pt x="734" y="3510"/>
                  <a:pt x="721" y="3469"/>
                  <a:pt x="721" y="3467"/>
                </a:cubicBezTo>
                <a:cubicBezTo>
                  <a:pt x="721" y="3465"/>
                  <a:pt x="750" y="3476"/>
                  <a:pt x="750" y="3476"/>
                </a:cubicBezTo>
                <a:cubicBezTo>
                  <a:pt x="759" y="3373"/>
                  <a:pt x="759" y="3373"/>
                  <a:pt x="759" y="3373"/>
                </a:cubicBezTo>
                <a:cubicBezTo>
                  <a:pt x="711" y="3339"/>
                  <a:pt x="711" y="3339"/>
                  <a:pt x="711" y="3339"/>
                </a:cubicBezTo>
                <a:cubicBezTo>
                  <a:pt x="734" y="3293"/>
                  <a:pt x="734" y="3293"/>
                  <a:pt x="734" y="3293"/>
                </a:cubicBezTo>
                <a:cubicBezTo>
                  <a:pt x="734" y="3293"/>
                  <a:pt x="709" y="3254"/>
                  <a:pt x="707" y="3254"/>
                </a:cubicBezTo>
                <a:cubicBezTo>
                  <a:pt x="705" y="3253"/>
                  <a:pt x="745" y="3224"/>
                  <a:pt x="745" y="3224"/>
                </a:cubicBezTo>
                <a:cubicBezTo>
                  <a:pt x="775" y="3218"/>
                  <a:pt x="775" y="3218"/>
                  <a:pt x="775" y="3218"/>
                </a:cubicBezTo>
                <a:cubicBezTo>
                  <a:pt x="777" y="3192"/>
                  <a:pt x="777" y="3192"/>
                  <a:pt x="777" y="3192"/>
                </a:cubicBezTo>
                <a:cubicBezTo>
                  <a:pt x="807" y="3152"/>
                  <a:pt x="807" y="3152"/>
                  <a:pt x="807" y="3152"/>
                </a:cubicBezTo>
                <a:cubicBezTo>
                  <a:pt x="807" y="3152"/>
                  <a:pt x="822" y="3159"/>
                  <a:pt x="836" y="3161"/>
                </a:cubicBezTo>
                <a:cubicBezTo>
                  <a:pt x="850" y="3162"/>
                  <a:pt x="862" y="3133"/>
                  <a:pt x="867" y="3136"/>
                </a:cubicBezTo>
                <a:cubicBezTo>
                  <a:pt x="873" y="3138"/>
                  <a:pt x="879" y="3194"/>
                  <a:pt x="885" y="3205"/>
                </a:cubicBezTo>
                <a:cubicBezTo>
                  <a:pt x="890" y="3217"/>
                  <a:pt x="908" y="3211"/>
                  <a:pt x="908" y="3211"/>
                </a:cubicBezTo>
                <a:cubicBezTo>
                  <a:pt x="923" y="3163"/>
                  <a:pt x="923" y="3163"/>
                  <a:pt x="923" y="3163"/>
                </a:cubicBezTo>
                <a:cubicBezTo>
                  <a:pt x="923" y="3163"/>
                  <a:pt x="993" y="3164"/>
                  <a:pt x="995" y="3164"/>
                </a:cubicBezTo>
                <a:cubicBezTo>
                  <a:pt x="997" y="3164"/>
                  <a:pt x="1004" y="3142"/>
                  <a:pt x="1004" y="3142"/>
                </a:cubicBezTo>
                <a:cubicBezTo>
                  <a:pt x="1004" y="3142"/>
                  <a:pt x="1030" y="3151"/>
                  <a:pt x="1057" y="3158"/>
                </a:cubicBezTo>
                <a:cubicBezTo>
                  <a:pt x="1084" y="3165"/>
                  <a:pt x="1101" y="3143"/>
                  <a:pt x="1117" y="3150"/>
                </a:cubicBezTo>
                <a:cubicBezTo>
                  <a:pt x="1132" y="3156"/>
                  <a:pt x="1119" y="3173"/>
                  <a:pt x="1119" y="3173"/>
                </a:cubicBezTo>
                <a:cubicBezTo>
                  <a:pt x="1140" y="3190"/>
                  <a:pt x="1140" y="3190"/>
                  <a:pt x="1140" y="3190"/>
                </a:cubicBezTo>
                <a:cubicBezTo>
                  <a:pt x="1140" y="3190"/>
                  <a:pt x="1166" y="3175"/>
                  <a:pt x="1177" y="3177"/>
                </a:cubicBezTo>
                <a:cubicBezTo>
                  <a:pt x="1188" y="3180"/>
                  <a:pt x="1178" y="3202"/>
                  <a:pt x="1178" y="3202"/>
                </a:cubicBezTo>
                <a:cubicBezTo>
                  <a:pt x="1178" y="3202"/>
                  <a:pt x="1207" y="3224"/>
                  <a:pt x="1219" y="3232"/>
                </a:cubicBezTo>
                <a:cubicBezTo>
                  <a:pt x="1231" y="3240"/>
                  <a:pt x="1227" y="3262"/>
                  <a:pt x="1228" y="3273"/>
                </a:cubicBezTo>
                <a:cubicBezTo>
                  <a:pt x="1229" y="3285"/>
                  <a:pt x="1250" y="3312"/>
                  <a:pt x="1250" y="3312"/>
                </a:cubicBezTo>
                <a:cubicBezTo>
                  <a:pt x="1250" y="3312"/>
                  <a:pt x="1237" y="3344"/>
                  <a:pt x="1246" y="3355"/>
                </a:cubicBezTo>
                <a:cubicBezTo>
                  <a:pt x="1256" y="3366"/>
                  <a:pt x="1277" y="3328"/>
                  <a:pt x="1281" y="3336"/>
                </a:cubicBezTo>
                <a:cubicBezTo>
                  <a:pt x="1285" y="3343"/>
                  <a:pt x="1302" y="3378"/>
                  <a:pt x="1326" y="3383"/>
                </a:cubicBezTo>
                <a:cubicBezTo>
                  <a:pt x="1349" y="3388"/>
                  <a:pt x="1340" y="3366"/>
                  <a:pt x="1340" y="3366"/>
                </a:cubicBezTo>
                <a:cubicBezTo>
                  <a:pt x="1340" y="3366"/>
                  <a:pt x="1360" y="3365"/>
                  <a:pt x="1367" y="3363"/>
                </a:cubicBezTo>
                <a:cubicBezTo>
                  <a:pt x="1374" y="3361"/>
                  <a:pt x="1400" y="3378"/>
                  <a:pt x="1400" y="3378"/>
                </a:cubicBezTo>
                <a:cubicBezTo>
                  <a:pt x="1400" y="3378"/>
                  <a:pt x="1403" y="3400"/>
                  <a:pt x="1418" y="3408"/>
                </a:cubicBezTo>
                <a:cubicBezTo>
                  <a:pt x="1433" y="3416"/>
                  <a:pt x="1463" y="3401"/>
                  <a:pt x="1478" y="3407"/>
                </a:cubicBezTo>
                <a:cubicBezTo>
                  <a:pt x="1494" y="3414"/>
                  <a:pt x="1478" y="3446"/>
                  <a:pt x="1482" y="3452"/>
                </a:cubicBezTo>
                <a:cubicBezTo>
                  <a:pt x="1487" y="3458"/>
                  <a:pt x="1499" y="3467"/>
                  <a:pt x="1509" y="3475"/>
                </a:cubicBezTo>
                <a:cubicBezTo>
                  <a:pt x="1518" y="3483"/>
                  <a:pt x="1527" y="3496"/>
                  <a:pt x="1529" y="3496"/>
                </a:cubicBezTo>
                <a:cubicBezTo>
                  <a:pt x="1531" y="3496"/>
                  <a:pt x="1552" y="3480"/>
                  <a:pt x="1552" y="3480"/>
                </a:cubicBezTo>
                <a:cubicBezTo>
                  <a:pt x="1552" y="3480"/>
                  <a:pt x="1559" y="3494"/>
                  <a:pt x="1577" y="3509"/>
                </a:cubicBezTo>
                <a:cubicBezTo>
                  <a:pt x="1594" y="3523"/>
                  <a:pt x="1631" y="3507"/>
                  <a:pt x="1631" y="3507"/>
                </a:cubicBezTo>
                <a:cubicBezTo>
                  <a:pt x="1662" y="3467"/>
                  <a:pt x="1662" y="3467"/>
                  <a:pt x="1662" y="3467"/>
                </a:cubicBezTo>
                <a:cubicBezTo>
                  <a:pt x="1635" y="3450"/>
                  <a:pt x="1635" y="3450"/>
                  <a:pt x="1635" y="3450"/>
                </a:cubicBezTo>
                <a:cubicBezTo>
                  <a:pt x="1640" y="3430"/>
                  <a:pt x="1640" y="3430"/>
                  <a:pt x="1640" y="3430"/>
                </a:cubicBezTo>
                <a:cubicBezTo>
                  <a:pt x="1611" y="3415"/>
                  <a:pt x="1611" y="3415"/>
                  <a:pt x="1611" y="3415"/>
                </a:cubicBezTo>
                <a:cubicBezTo>
                  <a:pt x="1601" y="3378"/>
                  <a:pt x="1601" y="3378"/>
                  <a:pt x="1601" y="3378"/>
                </a:cubicBezTo>
                <a:cubicBezTo>
                  <a:pt x="1601" y="3378"/>
                  <a:pt x="1641" y="3384"/>
                  <a:pt x="1662" y="3369"/>
                </a:cubicBezTo>
                <a:cubicBezTo>
                  <a:pt x="1683" y="3353"/>
                  <a:pt x="1665" y="3327"/>
                  <a:pt x="1665" y="3327"/>
                </a:cubicBezTo>
                <a:cubicBezTo>
                  <a:pt x="1665" y="3327"/>
                  <a:pt x="1694" y="3317"/>
                  <a:pt x="1702" y="3317"/>
                </a:cubicBezTo>
                <a:cubicBezTo>
                  <a:pt x="1710" y="3317"/>
                  <a:pt x="1750" y="3341"/>
                  <a:pt x="1764" y="3333"/>
                </a:cubicBezTo>
                <a:cubicBezTo>
                  <a:pt x="1777" y="3326"/>
                  <a:pt x="1724" y="3287"/>
                  <a:pt x="1724" y="3287"/>
                </a:cubicBezTo>
                <a:cubicBezTo>
                  <a:pt x="1744" y="3275"/>
                  <a:pt x="1744" y="3275"/>
                  <a:pt x="1744" y="3275"/>
                </a:cubicBezTo>
                <a:cubicBezTo>
                  <a:pt x="1720" y="3254"/>
                  <a:pt x="1720" y="3254"/>
                  <a:pt x="1720" y="3254"/>
                </a:cubicBezTo>
                <a:cubicBezTo>
                  <a:pt x="1720" y="3254"/>
                  <a:pt x="1730" y="3226"/>
                  <a:pt x="1732" y="3226"/>
                </a:cubicBezTo>
                <a:cubicBezTo>
                  <a:pt x="1734" y="3226"/>
                  <a:pt x="1748" y="3223"/>
                  <a:pt x="1748" y="3223"/>
                </a:cubicBezTo>
                <a:cubicBezTo>
                  <a:pt x="1802" y="3258"/>
                  <a:pt x="1802" y="3258"/>
                  <a:pt x="1802" y="3258"/>
                </a:cubicBezTo>
                <a:cubicBezTo>
                  <a:pt x="1802" y="3258"/>
                  <a:pt x="1895" y="3268"/>
                  <a:pt x="1919" y="3262"/>
                </a:cubicBezTo>
                <a:cubicBezTo>
                  <a:pt x="1943" y="3256"/>
                  <a:pt x="1950" y="3287"/>
                  <a:pt x="1950" y="3287"/>
                </a:cubicBezTo>
                <a:cubicBezTo>
                  <a:pt x="1975" y="3259"/>
                  <a:pt x="1975" y="3259"/>
                  <a:pt x="1975" y="3259"/>
                </a:cubicBezTo>
                <a:cubicBezTo>
                  <a:pt x="1975" y="3259"/>
                  <a:pt x="2129" y="3277"/>
                  <a:pt x="2137" y="3277"/>
                </a:cubicBezTo>
                <a:cubicBezTo>
                  <a:pt x="2145" y="3277"/>
                  <a:pt x="2164" y="3251"/>
                  <a:pt x="2192" y="3248"/>
                </a:cubicBezTo>
                <a:cubicBezTo>
                  <a:pt x="2220" y="3246"/>
                  <a:pt x="2248" y="3296"/>
                  <a:pt x="2248" y="3296"/>
                </a:cubicBezTo>
                <a:cubicBezTo>
                  <a:pt x="2248" y="3296"/>
                  <a:pt x="2275" y="3284"/>
                  <a:pt x="2288" y="3295"/>
                </a:cubicBezTo>
                <a:cubicBezTo>
                  <a:pt x="2301" y="3307"/>
                  <a:pt x="2278" y="3330"/>
                  <a:pt x="2278" y="3330"/>
                </a:cubicBezTo>
                <a:cubicBezTo>
                  <a:pt x="2278" y="3330"/>
                  <a:pt x="2290" y="3347"/>
                  <a:pt x="2294" y="3354"/>
                </a:cubicBezTo>
                <a:cubicBezTo>
                  <a:pt x="2297" y="3361"/>
                  <a:pt x="2270" y="3381"/>
                  <a:pt x="2283" y="3405"/>
                </a:cubicBezTo>
                <a:cubicBezTo>
                  <a:pt x="2297" y="3428"/>
                  <a:pt x="2314" y="3392"/>
                  <a:pt x="2333" y="3397"/>
                </a:cubicBezTo>
                <a:cubicBezTo>
                  <a:pt x="2352" y="3403"/>
                  <a:pt x="2337" y="3433"/>
                  <a:pt x="2340" y="3442"/>
                </a:cubicBezTo>
                <a:cubicBezTo>
                  <a:pt x="2342" y="3451"/>
                  <a:pt x="2345" y="3432"/>
                  <a:pt x="2368" y="3426"/>
                </a:cubicBezTo>
                <a:cubicBezTo>
                  <a:pt x="2391" y="3420"/>
                  <a:pt x="2377" y="3438"/>
                  <a:pt x="2384" y="3447"/>
                </a:cubicBezTo>
                <a:cubicBezTo>
                  <a:pt x="2390" y="3455"/>
                  <a:pt x="2414" y="3443"/>
                  <a:pt x="2417" y="3451"/>
                </a:cubicBezTo>
                <a:cubicBezTo>
                  <a:pt x="2419" y="3459"/>
                  <a:pt x="2374" y="3473"/>
                  <a:pt x="2372" y="3476"/>
                </a:cubicBezTo>
                <a:cubicBezTo>
                  <a:pt x="2370" y="3480"/>
                  <a:pt x="2372" y="3485"/>
                  <a:pt x="2382" y="3498"/>
                </a:cubicBezTo>
                <a:cubicBezTo>
                  <a:pt x="2391" y="3512"/>
                  <a:pt x="2409" y="3486"/>
                  <a:pt x="2411" y="3486"/>
                </a:cubicBezTo>
                <a:cubicBezTo>
                  <a:pt x="2414" y="3486"/>
                  <a:pt x="2433" y="3505"/>
                  <a:pt x="2435" y="3506"/>
                </a:cubicBezTo>
                <a:cubicBezTo>
                  <a:pt x="2438" y="3507"/>
                  <a:pt x="2462" y="3484"/>
                  <a:pt x="2466" y="3483"/>
                </a:cubicBezTo>
                <a:cubicBezTo>
                  <a:pt x="2469" y="3482"/>
                  <a:pt x="2483" y="3486"/>
                  <a:pt x="2483" y="3486"/>
                </a:cubicBezTo>
                <a:cubicBezTo>
                  <a:pt x="2483" y="3486"/>
                  <a:pt x="2504" y="3465"/>
                  <a:pt x="2508" y="3465"/>
                </a:cubicBezTo>
                <a:cubicBezTo>
                  <a:pt x="2512" y="3464"/>
                  <a:pt x="2529" y="3463"/>
                  <a:pt x="2534" y="3465"/>
                </a:cubicBezTo>
                <a:cubicBezTo>
                  <a:pt x="2539" y="3466"/>
                  <a:pt x="2556" y="3442"/>
                  <a:pt x="2556" y="3442"/>
                </a:cubicBezTo>
                <a:cubicBezTo>
                  <a:pt x="2556" y="3442"/>
                  <a:pt x="2572" y="3447"/>
                  <a:pt x="2574" y="3447"/>
                </a:cubicBezTo>
                <a:cubicBezTo>
                  <a:pt x="2576" y="3447"/>
                  <a:pt x="2603" y="3446"/>
                  <a:pt x="2604" y="3457"/>
                </a:cubicBezTo>
                <a:cubicBezTo>
                  <a:pt x="2605" y="3467"/>
                  <a:pt x="2566" y="3483"/>
                  <a:pt x="2566" y="3483"/>
                </a:cubicBezTo>
                <a:cubicBezTo>
                  <a:pt x="2624" y="3555"/>
                  <a:pt x="2624" y="3555"/>
                  <a:pt x="2624" y="3555"/>
                </a:cubicBezTo>
                <a:cubicBezTo>
                  <a:pt x="2718" y="3815"/>
                  <a:pt x="2718" y="3815"/>
                  <a:pt x="2718" y="3815"/>
                </a:cubicBezTo>
                <a:cubicBezTo>
                  <a:pt x="2718" y="3815"/>
                  <a:pt x="2725" y="3818"/>
                  <a:pt x="2742" y="3815"/>
                </a:cubicBezTo>
                <a:cubicBezTo>
                  <a:pt x="2759" y="3811"/>
                  <a:pt x="2763" y="3778"/>
                  <a:pt x="2776" y="3784"/>
                </a:cubicBezTo>
                <a:cubicBezTo>
                  <a:pt x="2789" y="3791"/>
                  <a:pt x="2786" y="3814"/>
                  <a:pt x="2786" y="3814"/>
                </a:cubicBezTo>
                <a:cubicBezTo>
                  <a:pt x="2803" y="3819"/>
                  <a:pt x="2803" y="3819"/>
                  <a:pt x="2803" y="3819"/>
                </a:cubicBezTo>
                <a:cubicBezTo>
                  <a:pt x="2803" y="3819"/>
                  <a:pt x="2809" y="3838"/>
                  <a:pt x="2811" y="3840"/>
                </a:cubicBezTo>
                <a:cubicBezTo>
                  <a:pt x="2813" y="3842"/>
                  <a:pt x="2873" y="3847"/>
                  <a:pt x="2873" y="3847"/>
                </a:cubicBezTo>
                <a:cubicBezTo>
                  <a:pt x="2886" y="3830"/>
                  <a:pt x="2922" y="3824"/>
                  <a:pt x="2945" y="3841"/>
                </a:cubicBezTo>
                <a:cubicBezTo>
                  <a:pt x="2968" y="3859"/>
                  <a:pt x="2968" y="3905"/>
                  <a:pt x="2969" y="3907"/>
                </a:cubicBezTo>
                <a:cubicBezTo>
                  <a:pt x="2970" y="3909"/>
                  <a:pt x="2978" y="3913"/>
                  <a:pt x="3005" y="3924"/>
                </a:cubicBezTo>
                <a:cubicBezTo>
                  <a:pt x="3032" y="3936"/>
                  <a:pt x="3024" y="3964"/>
                  <a:pt x="3030" y="3969"/>
                </a:cubicBezTo>
                <a:cubicBezTo>
                  <a:pt x="3037" y="3973"/>
                  <a:pt x="3043" y="3971"/>
                  <a:pt x="3054" y="3971"/>
                </a:cubicBezTo>
                <a:cubicBezTo>
                  <a:pt x="3065" y="3971"/>
                  <a:pt x="3061" y="3977"/>
                  <a:pt x="3072" y="3982"/>
                </a:cubicBezTo>
                <a:cubicBezTo>
                  <a:pt x="3082" y="3987"/>
                  <a:pt x="3118" y="3956"/>
                  <a:pt x="3118" y="3956"/>
                </a:cubicBezTo>
                <a:cubicBezTo>
                  <a:pt x="3119" y="3980"/>
                  <a:pt x="3146" y="4019"/>
                  <a:pt x="3168" y="4020"/>
                </a:cubicBezTo>
                <a:cubicBezTo>
                  <a:pt x="3190" y="4021"/>
                  <a:pt x="3211" y="3991"/>
                  <a:pt x="3211" y="3991"/>
                </a:cubicBezTo>
                <a:cubicBezTo>
                  <a:pt x="3256" y="3993"/>
                  <a:pt x="3256" y="3993"/>
                  <a:pt x="3256" y="3993"/>
                </a:cubicBezTo>
                <a:cubicBezTo>
                  <a:pt x="3256" y="3993"/>
                  <a:pt x="3306" y="3970"/>
                  <a:pt x="3306" y="3964"/>
                </a:cubicBezTo>
                <a:cubicBezTo>
                  <a:pt x="3306" y="3958"/>
                  <a:pt x="3352" y="3921"/>
                  <a:pt x="3370" y="3905"/>
                </a:cubicBezTo>
                <a:cubicBezTo>
                  <a:pt x="3389" y="3890"/>
                  <a:pt x="3407" y="3903"/>
                  <a:pt x="3410" y="3903"/>
                </a:cubicBezTo>
                <a:cubicBezTo>
                  <a:pt x="3412" y="3903"/>
                  <a:pt x="3413" y="3885"/>
                  <a:pt x="3426" y="3873"/>
                </a:cubicBezTo>
                <a:cubicBezTo>
                  <a:pt x="3440" y="3862"/>
                  <a:pt x="3455" y="3874"/>
                  <a:pt x="3455" y="3874"/>
                </a:cubicBezTo>
                <a:cubicBezTo>
                  <a:pt x="3468" y="3857"/>
                  <a:pt x="3468" y="3857"/>
                  <a:pt x="3468" y="3857"/>
                </a:cubicBezTo>
                <a:cubicBezTo>
                  <a:pt x="3478" y="3866"/>
                  <a:pt x="3478" y="3866"/>
                  <a:pt x="3478" y="3866"/>
                </a:cubicBezTo>
                <a:cubicBezTo>
                  <a:pt x="3478" y="3866"/>
                  <a:pt x="3495" y="3864"/>
                  <a:pt x="3497" y="3865"/>
                </a:cubicBezTo>
                <a:cubicBezTo>
                  <a:pt x="3499" y="3865"/>
                  <a:pt x="3509" y="3876"/>
                  <a:pt x="3511" y="3878"/>
                </a:cubicBezTo>
                <a:cubicBezTo>
                  <a:pt x="3514" y="3879"/>
                  <a:pt x="3588" y="3879"/>
                  <a:pt x="3590" y="3881"/>
                </a:cubicBezTo>
                <a:cubicBezTo>
                  <a:pt x="3592" y="3883"/>
                  <a:pt x="3606" y="3926"/>
                  <a:pt x="3606" y="3929"/>
                </a:cubicBezTo>
                <a:cubicBezTo>
                  <a:pt x="3607" y="3932"/>
                  <a:pt x="3614" y="3925"/>
                  <a:pt x="3627" y="3925"/>
                </a:cubicBezTo>
                <a:cubicBezTo>
                  <a:pt x="3640" y="3924"/>
                  <a:pt x="3661" y="3940"/>
                  <a:pt x="3661" y="3940"/>
                </a:cubicBezTo>
                <a:cubicBezTo>
                  <a:pt x="3661" y="3940"/>
                  <a:pt x="3680" y="3927"/>
                  <a:pt x="3690" y="3927"/>
                </a:cubicBezTo>
                <a:cubicBezTo>
                  <a:pt x="3700" y="3927"/>
                  <a:pt x="3711" y="3934"/>
                  <a:pt x="3711" y="3934"/>
                </a:cubicBezTo>
                <a:cubicBezTo>
                  <a:pt x="3711" y="3934"/>
                  <a:pt x="3741" y="3931"/>
                  <a:pt x="3743" y="3931"/>
                </a:cubicBezTo>
                <a:cubicBezTo>
                  <a:pt x="3745" y="3931"/>
                  <a:pt x="3766" y="3946"/>
                  <a:pt x="3766" y="3946"/>
                </a:cubicBezTo>
                <a:cubicBezTo>
                  <a:pt x="3766" y="3946"/>
                  <a:pt x="3812" y="3918"/>
                  <a:pt x="3820" y="3915"/>
                </a:cubicBezTo>
                <a:cubicBezTo>
                  <a:pt x="3828" y="3911"/>
                  <a:pt x="3835" y="3869"/>
                  <a:pt x="3835" y="3869"/>
                </a:cubicBezTo>
                <a:cubicBezTo>
                  <a:pt x="3835" y="3869"/>
                  <a:pt x="3807" y="3841"/>
                  <a:pt x="3802" y="3821"/>
                </a:cubicBezTo>
                <a:cubicBezTo>
                  <a:pt x="3797" y="3801"/>
                  <a:pt x="3814" y="3760"/>
                  <a:pt x="3814" y="3760"/>
                </a:cubicBezTo>
                <a:cubicBezTo>
                  <a:pt x="3814" y="3760"/>
                  <a:pt x="3831" y="3743"/>
                  <a:pt x="3838" y="3739"/>
                </a:cubicBezTo>
                <a:cubicBezTo>
                  <a:pt x="3845" y="3735"/>
                  <a:pt x="3850" y="3700"/>
                  <a:pt x="3850" y="3700"/>
                </a:cubicBezTo>
                <a:cubicBezTo>
                  <a:pt x="3901" y="3730"/>
                  <a:pt x="3901" y="3730"/>
                  <a:pt x="3901" y="3730"/>
                </a:cubicBezTo>
                <a:cubicBezTo>
                  <a:pt x="3901" y="3730"/>
                  <a:pt x="3917" y="3724"/>
                  <a:pt x="3948" y="3726"/>
                </a:cubicBezTo>
                <a:cubicBezTo>
                  <a:pt x="3980" y="3727"/>
                  <a:pt x="3994" y="3742"/>
                  <a:pt x="3994" y="3742"/>
                </a:cubicBezTo>
                <a:cubicBezTo>
                  <a:pt x="3994" y="3742"/>
                  <a:pt x="4043" y="3749"/>
                  <a:pt x="4051" y="3753"/>
                </a:cubicBezTo>
                <a:cubicBezTo>
                  <a:pt x="4059" y="3757"/>
                  <a:pt x="4064" y="3793"/>
                  <a:pt x="4079" y="3817"/>
                </a:cubicBezTo>
                <a:cubicBezTo>
                  <a:pt x="4095" y="3840"/>
                  <a:pt x="4164" y="3844"/>
                  <a:pt x="4177" y="3844"/>
                </a:cubicBezTo>
                <a:cubicBezTo>
                  <a:pt x="4190" y="3845"/>
                  <a:pt x="4251" y="3795"/>
                  <a:pt x="4251" y="3795"/>
                </a:cubicBezTo>
                <a:cubicBezTo>
                  <a:pt x="4251" y="3795"/>
                  <a:pt x="4307" y="3800"/>
                  <a:pt x="4311" y="3801"/>
                </a:cubicBezTo>
                <a:cubicBezTo>
                  <a:pt x="4316" y="3803"/>
                  <a:pt x="4330" y="3792"/>
                  <a:pt x="4346" y="3793"/>
                </a:cubicBezTo>
                <a:cubicBezTo>
                  <a:pt x="4363" y="3793"/>
                  <a:pt x="4377" y="3811"/>
                  <a:pt x="4381" y="3814"/>
                </a:cubicBezTo>
                <a:cubicBezTo>
                  <a:pt x="4386" y="3817"/>
                  <a:pt x="4423" y="3807"/>
                  <a:pt x="4429" y="3818"/>
                </a:cubicBezTo>
                <a:cubicBezTo>
                  <a:pt x="4436" y="3828"/>
                  <a:pt x="4464" y="3851"/>
                  <a:pt x="4464" y="3851"/>
                </a:cubicBezTo>
                <a:cubicBezTo>
                  <a:pt x="4512" y="3844"/>
                  <a:pt x="4512" y="3844"/>
                  <a:pt x="4512" y="3844"/>
                </a:cubicBezTo>
                <a:cubicBezTo>
                  <a:pt x="4512" y="3844"/>
                  <a:pt x="4528" y="3847"/>
                  <a:pt x="4555" y="3849"/>
                </a:cubicBezTo>
                <a:cubicBezTo>
                  <a:pt x="4582" y="3850"/>
                  <a:pt x="4602" y="3836"/>
                  <a:pt x="4614" y="3836"/>
                </a:cubicBezTo>
                <a:cubicBezTo>
                  <a:pt x="4625" y="3836"/>
                  <a:pt x="4707" y="3766"/>
                  <a:pt x="4707" y="3766"/>
                </a:cubicBezTo>
                <a:cubicBezTo>
                  <a:pt x="4707" y="3766"/>
                  <a:pt x="4734" y="3760"/>
                  <a:pt x="4744" y="3749"/>
                </a:cubicBezTo>
                <a:cubicBezTo>
                  <a:pt x="4755" y="3739"/>
                  <a:pt x="4765" y="3698"/>
                  <a:pt x="4773" y="3691"/>
                </a:cubicBezTo>
                <a:cubicBezTo>
                  <a:pt x="4782" y="3683"/>
                  <a:pt x="4781" y="3670"/>
                  <a:pt x="4781" y="3670"/>
                </a:cubicBezTo>
                <a:cubicBezTo>
                  <a:pt x="4781" y="3670"/>
                  <a:pt x="4815" y="3652"/>
                  <a:pt x="4821" y="3652"/>
                </a:cubicBezTo>
                <a:cubicBezTo>
                  <a:pt x="4827" y="3652"/>
                  <a:pt x="4852" y="3668"/>
                  <a:pt x="4869" y="3672"/>
                </a:cubicBezTo>
                <a:cubicBezTo>
                  <a:pt x="4885" y="3676"/>
                  <a:pt x="4908" y="3648"/>
                  <a:pt x="4924" y="3641"/>
                </a:cubicBezTo>
                <a:cubicBezTo>
                  <a:pt x="4939" y="3633"/>
                  <a:pt x="4949" y="3648"/>
                  <a:pt x="4960" y="3653"/>
                </a:cubicBezTo>
                <a:cubicBezTo>
                  <a:pt x="4970" y="3658"/>
                  <a:pt x="5030" y="3651"/>
                  <a:pt x="5030" y="3651"/>
                </a:cubicBezTo>
                <a:cubicBezTo>
                  <a:pt x="5030" y="3651"/>
                  <a:pt x="5038" y="3621"/>
                  <a:pt x="5047" y="3608"/>
                </a:cubicBezTo>
                <a:cubicBezTo>
                  <a:pt x="5055" y="3596"/>
                  <a:pt x="5086" y="3574"/>
                  <a:pt x="5090" y="3561"/>
                </a:cubicBezTo>
                <a:cubicBezTo>
                  <a:pt x="5094" y="3547"/>
                  <a:pt x="5082" y="3542"/>
                  <a:pt x="5067" y="3532"/>
                </a:cubicBezTo>
                <a:cubicBezTo>
                  <a:pt x="5053" y="3523"/>
                  <a:pt x="5070" y="3412"/>
                  <a:pt x="5070" y="3412"/>
                </a:cubicBezTo>
                <a:cubicBezTo>
                  <a:pt x="5070" y="3412"/>
                  <a:pt x="5088" y="3372"/>
                  <a:pt x="5088" y="3353"/>
                </a:cubicBezTo>
                <a:cubicBezTo>
                  <a:pt x="5088" y="3334"/>
                  <a:pt x="5067" y="3339"/>
                  <a:pt x="5067" y="3339"/>
                </a:cubicBezTo>
                <a:cubicBezTo>
                  <a:pt x="5067" y="3339"/>
                  <a:pt x="5068" y="3322"/>
                  <a:pt x="5065" y="3314"/>
                </a:cubicBezTo>
                <a:cubicBezTo>
                  <a:pt x="5063" y="3306"/>
                  <a:pt x="5026" y="3317"/>
                  <a:pt x="5026" y="3317"/>
                </a:cubicBezTo>
                <a:cubicBezTo>
                  <a:pt x="5041" y="3255"/>
                  <a:pt x="5041" y="3255"/>
                  <a:pt x="5041" y="3255"/>
                </a:cubicBezTo>
                <a:cubicBezTo>
                  <a:pt x="5041" y="3255"/>
                  <a:pt x="5106" y="3205"/>
                  <a:pt x="5123" y="3192"/>
                </a:cubicBezTo>
                <a:cubicBezTo>
                  <a:pt x="5140" y="3179"/>
                  <a:pt x="5173" y="3154"/>
                  <a:pt x="5196" y="3151"/>
                </a:cubicBezTo>
                <a:cubicBezTo>
                  <a:pt x="5219" y="3148"/>
                  <a:pt x="5236" y="3161"/>
                  <a:pt x="5236" y="3161"/>
                </a:cubicBezTo>
                <a:cubicBezTo>
                  <a:pt x="5236" y="3161"/>
                  <a:pt x="5275" y="3143"/>
                  <a:pt x="5310" y="3147"/>
                </a:cubicBezTo>
                <a:cubicBezTo>
                  <a:pt x="5345" y="3151"/>
                  <a:pt x="5375" y="3185"/>
                  <a:pt x="5395" y="3204"/>
                </a:cubicBezTo>
                <a:cubicBezTo>
                  <a:pt x="5414" y="3223"/>
                  <a:pt x="5438" y="3252"/>
                  <a:pt x="5461" y="3268"/>
                </a:cubicBezTo>
                <a:cubicBezTo>
                  <a:pt x="5485" y="3285"/>
                  <a:pt x="5521" y="3314"/>
                  <a:pt x="5533" y="3324"/>
                </a:cubicBezTo>
                <a:cubicBezTo>
                  <a:pt x="5544" y="3333"/>
                  <a:pt x="5547" y="3342"/>
                  <a:pt x="5568" y="3365"/>
                </a:cubicBezTo>
                <a:cubicBezTo>
                  <a:pt x="5589" y="3388"/>
                  <a:pt x="5625" y="3335"/>
                  <a:pt x="5629" y="3334"/>
                </a:cubicBezTo>
                <a:cubicBezTo>
                  <a:pt x="5633" y="3333"/>
                  <a:pt x="5643" y="3339"/>
                  <a:pt x="5657" y="3342"/>
                </a:cubicBezTo>
                <a:cubicBezTo>
                  <a:pt x="5671" y="3345"/>
                  <a:pt x="5679" y="3324"/>
                  <a:pt x="5685" y="3324"/>
                </a:cubicBezTo>
                <a:cubicBezTo>
                  <a:pt x="5691" y="3323"/>
                  <a:pt x="5719" y="3340"/>
                  <a:pt x="5736" y="3348"/>
                </a:cubicBezTo>
                <a:cubicBezTo>
                  <a:pt x="5753" y="3356"/>
                  <a:pt x="5768" y="3322"/>
                  <a:pt x="5768" y="3322"/>
                </a:cubicBezTo>
                <a:cubicBezTo>
                  <a:pt x="5773" y="3334"/>
                  <a:pt x="5773" y="3334"/>
                  <a:pt x="5773" y="3334"/>
                </a:cubicBezTo>
                <a:cubicBezTo>
                  <a:pt x="5776" y="3345"/>
                  <a:pt x="5776" y="3345"/>
                  <a:pt x="5776" y="3345"/>
                </a:cubicBezTo>
                <a:cubicBezTo>
                  <a:pt x="5779" y="3356"/>
                  <a:pt x="5808" y="3369"/>
                  <a:pt x="5808" y="3369"/>
                </a:cubicBezTo>
                <a:cubicBezTo>
                  <a:pt x="5808" y="3369"/>
                  <a:pt x="5811" y="3392"/>
                  <a:pt x="5813" y="3394"/>
                </a:cubicBezTo>
                <a:cubicBezTo>
                  <a:pt x="5816" y="3396"/>
                  <a:pt x="5851" y="3409"/>
                  <a:pt x="5851" y="3409"/>
                </a:cubicBezTo>
                <a:cubicBezTo>
                  <a:pt x="5933" y="3356"/>
                  <a:pt x="5933" y="3356"/>
                  <a:pt x="5933" y="3356"/>
                </a:cubicBezTo>
                <a:cubicBezTo>
                  <a:pt x="5933" y="3356"/>
                  <a:pt x="5931" y="3338"/>
                  <a:pt x="5933" y="3322"/>
                </a:cubicBezTo>
                <a:cubicBezTo>
                  <a:pt x="5934" y="3306"/>
                  <a:pt x="5967" y="3292"/>
                  <a:pt x="5967" y="3292"/>
                </a:cubicBezTo>
                <a:cubicBezTo>
                  <a:pt x="5967" y="3292"/>
                  <a:pt x="6001" y="3231"/>
                  <a:pt x="6013" y="3228"/>
                </a:cubicBezTo>
                <a:cubicBezTo>
                  <a:pt x="6024" y="3226"/>
                  <a:pt x="6022" y="3258"/>
                  <a:pt x="6024" y="3261"/>
                </a:cubicBezTo>
                <a:cubicBezTo>
                  <a:pt x="6026" y="3264"/>
                  <a:pt x="6048" y="3277"/>
                  <a:pt x="6052" y="3285"/>
                </a:cubicBezTo>
                <a:cubicBezTo>
                  <a:pt x="6056" y="3293"/>
                  <a:pt x="6041" y="3310"/>
                  <a:pt x="6038" y="3316"/>
                </a:cubicBezTo>
                <a:cubicBezTo>
                  <a:pt x="6035" y="3322"/>
                  <a:pt x="6056" y="3347"/>
                  <a:pt x="6062" y="3357"/>
                </a:cubicBezTo>
                <a:cubicBezTo>
                  <a:pt x="6068" y="3367"/>
                  <a:pt x="6063" y="3383"/>
                  <a:pt x="6070" y="3396"/>
                </a:cubicBezTo>
                <a:cubicBezTo>
                  <a:pt x="6077" y="3408"/>
                  <a:pt x="6085" y="3421"/>
                  <a:pt x="6087" y="3423"/>
                </a:cubicBezTo>
                <a:cubicBezTo>
                  <a:pt x="6088" y="3425"/>
                  <a:pt x="6082" y="3462"/>
                  <a:pt x="6083" y="3465"/>
                </a:cubicBezTo>
                <a:cubicBezTo>
                  <a:pt x="6083" y="3468"/>
                  <a:pt x="6092" y="3478"/>
                  <a:pt x="6097" y="3484"/>
                </a:cubicBezTo>
                <a:cubicBezTo>
                  <a:pt x="6101" y="3490"/>
                  <a:pt x="6084" y="3506"/>
                  <a:pt x="6083" y="3510"/>
                </a:cubicBezTo>
                <a:cubicBezTo>
                  <a:pt x="6083" y="3515"/>
                  <a:pt x="6099" y="3528"/>
                  <a:pt x="6105" y="3536"/>
                </a:cubicBezTo>
                <a:cubicBezTo>
                  <a:pt x="6111" y="3545"/>
                  <a:pt x="6029" y="3570"/>
                  <a:pt x="6029" y="3570"/>
                </a:cubicBezTo>
                <a:cubicBezTo>
                  <a:pt x="6021" y="3616"/>
                  <a:pt x="6021" y="3616"/>
                  <a:pt x="6021" y="3616"/>
                </a:cubicBezTo>
                <a:cubicBezTo>
                  <a:pt x="5997" y="3639"/>
                  <a:pt x="5997" y="3639"/>
                  <a:pt x="5997" y="3639"/>
                </a:cubicBezTo>
                <a:cubicBezTo>
                  <a:pt x="5997" y="3639"/>
                  <a:pt x="6017" y="3662"/>
                  <a:pt x="6047" y="3678"/>
                </a:cubicBezTo>
                <a:cubicBezTo>
                  <a:pt x="6078" y="3694"/>
                  <a:pt x="6065" y="3714"/>
                  <a:pt x="6073" y="3728"/>
                </a:cubicBezTo>
                <a:cubicBezTo>
                  <a:pt x="6081" y="3742"/>
                  <a:pt x="6102" y="3754"/>
                  <a:pt x="6102" y="3754"/>
                </a:cubicBezTo>
                <a:cubicBezTo>
                  <a:pt x="6102" y="3754"/>
                  <a:pt x="6114" y="3796"/>
                  <a:pt x="6114" y="3798"/>
                </a:cubicBezTo>
                <a:cubicBezTo>
                  <a:pt x="6114" y="3800"/>
                  <a:pt x="6078" y="3828"/>
                  <a:pt x="6078" y="3828"/>
                </a:cubicBezTo>
                <a:cubicBezTo>
                  <a:pt x="6078" y="3828"/>
                  <a:pt x="6117" y="3856"/>
                  <a:pt x="6119" y="3856"/>
                </a:cubicBezTo>
                <a:cubicBezTo>
                  <a:pt x="6121" y="3856"/>
                  <a:pt x="6120" y="3844"/>
                  <a:pt x="6120" y="3844"/>
                </a:cubicBezTo>
                <a:cubicBezTo>
                  <a:pt x="6108" y="3830"/>
                  <a:pt x="6108" y="3830"/>
                  <a:pt x="6108" y="3830"/>
                </a:cubicBezTo>
                <a:cubicBezTo>
                  <a:pt x="6129" y="3812"/>
                  <a:pt x="6129" y="3812"/>
                  <a:pt x="6129" y="3812"/>
                </a:cubicBezTo>
                <a:cubicBezTo>
                  <a:pt x="6133" y="3736"/>
                  <a:pt x="6133" y="3736"/>
                  <a:pt x="6133" y="3736"/>
                </a:cubicBezTo>
                <a:cubicBezTo>
                  <a:pt x="6133" y="3736"/>
                  <a:pt x="6150" y="3760"/>
                  <a:pt x="6151" y="3762"/>
                </a:cubicBezTo>
                <a:cubicBezTo>
                  <a:pt x="6151" y="3765"/>
                  <a:pt x="6147" y="3724"/>
                  <a:pt x="6161" y="3721"/>
                </a:cubicBezTo>
                <a:cubicBezTo>
                  <a:pt x="6175" y="3718"/>
                  <a:pt x="6178" y="3748"/>
                  <a:pt x="6179" y="3752"/>
                </a:cubicBezTo>
                <a:cubicBezTo>
                  <a:pt x="6181" y="3756"/>
                  <a:pt x="6205" y="3736"/>
                  <a:pt x="6214" y="3733"/>
                </a:cubicBezTo>
                <a:cubicBezTo>
                  <a:pt x="6223" y="3730"/>
                  <a:pt x="6235" y="3733"/>
                  <a:pt x="6235" y="3733"/>
                </a:cubicBezTo>
                <a:cubicBezTo>
                  <a:pt x="6235" y="3733"/>
                  <a:pt x="6247" y="3716"/>
                  <a:pt x="6253" y="3710"/>
                </a:cubicBezTo>
                <a:cubicBezTo>
                  <a:pt x="6260" y="3704"/>
                  <a:pt x="6279" y="3656"/>
                  <a:pt x="6285" y="3648"/>
                </a:cubicBezTo>
                <a:cubicBezTo>
                  <a:pt x="6292" y="3640"/>
                  <a:pt x="6311" y="3574"/>
                  <a:pt x="6311" y="3574"/>
                </a:cubicBezTo>
                <a:cubicBezTo>
                  <a:pt x="6311" y="3574"/>
                  <a:pt x="6312" y="3346"/>
                  <a:pt x="6312" y="3309"/>
                </a:cubicBezTo>
                <a:cubicBezTo>
                  <a:pt x="6312" y="3272"/>
                  <a:pt x="6301" y="3206"/>
                  <a:pt x="6291" y="3191"/>
                </a:cubicBezTo>
                <a:cubicBezTo>
                  <a:pt x="6281" y="3176"/>
                  <a:pt x="6279" y="3120"/>
                  <a:pt x="6277" y="3106"/>
                </a:cubicBezTo>
                <a:cubicBezTo>
                  <a:pt x="6276" y="3092"/>
                  <a:pt x="6279" y="2998"/>
                  <a:pt x="6279" y="2998"/>
                </a:cubicBezTo>
                <a:cubicBezTo>
                  <a:pt x="6213" y="2887"/>
                  <a:pt x="6213" y="2887"/>
                  <a:pt x="6213" y="2887"/>
                </a:cubicBezTo>
                <a:cubicBezTo>
                  <a:pt x="6201" y="2885"/>
                  <a:pt x="6201" y="2885"/>
                  <a:pt x="6201" y="2885"/>
                </a:cubicBezTo>
                <a:cubicBezTo>
                  <a:pt x="6193" y="2860"/>
                  <a:pt x="6193" y="2860"/>
                  <a:pt x="6193" y="2860"/>
                </a:cubicBezTo>
                <a:cubicBezTo>
                  <a:pt x="6143" y="2814"/>
                  <a:pt x="6143" y="2814"/>
                  <a:pt x="6143" y="2814"/>
                </a:cubicBezTo>
                <a:cubicBezTo>
                  <a:pt x="6143" y="2814"/>
                  <a:pt x="6139" y="2788"/>
                  <a:pt x="6131" y="2780"/>
                </a:cubicBezTo>
                <a:cubicBezTo>
                  <a:pt x="6124" y="2772"/>
                  <a:pt x="6111" y="2744"/>
                  <a:pt x="6111" y="2744"/>
                </a:cubicBezTo>
                <a:cubicBezTo>
                  <a:pt x="6116" y="2699"/>
                  <a:pt x="6116" y="2699"/>
                  <a:pt x="6116" y="2699"/>
                </a:cubicBezTo>
                <a:cubicBezTo>
                  <a:pt x="6099" y="2678"/>
                  <a:pt x="6099" y="2678"/>
                  <a:pt x="6099" y="2678"/>
                </a:cubicBezTo>
                <a:cubicBezTo>
                  <a:pt x="6075" y="2677"/>
                  <a:pt x="6075" y="2677"/>
                  <a:pt x="6075" y="2677"/>
                </a:cubicBezTo>
                <a:cubicBezTo>
                  <a:pt x="6075" y="2677"/>
                  <a:pt x="6061" y="2651"/>
                  <a:pt x="6051" y="2642"/>
                </a:cubicBezTo>
                <a:cubicBezTo>
                  <a:pt x="6041" y="2632"/>
                  <a:pt x="6012" y="2634"/>
                  <a:pt x="6012" y="2634"/>
                </a:cubicBezTo>
                <a:cubicBezTo>
                  <a:pt x="6012" y="2634"/>
                  <a:pt x="6029" y="2628"/>
                  <a:pt x="6031" y="2619"/>
                </a:cubicBezTo>
                <a:cubicBezTo>
                  <a:pt x="6032" y="2610"/>
                  <a:pt x="6031" y="2600"/>
                  <a:pt x="6031" y="2600"/>
                </a:cubicBezTo>
                <a:cubicBezTo>
                  <a:pt x="6031" y="2600"/>
                  <a:pt x="6005" y="2600"/>
                  <a:pt x="5984" y="2600"/>
                </a:cubicBezTo>
                <a:cubicBezTo>
                  <a:pt x="5963" y="2600"/>
                  <a:pt x="5931" y="2588"/>
                  <a:pt x="5913" y="2588"/>
                </a:cubicBezTo>
                <a:cubicBezTo>
                  <a:pt x="5896" y="2588"/>
                  <a:pt x="5887" y="2600"/>
                  <a:pt x="5879" y="2610"/>
                </a:cubicBezTo>
                <a:cubicBezTo>
                  <a:pt x="5870" y="2620"/>
                  <a:pt x="5847" y="2624"/>
                  <a:pt x="5847" y="2624"/>
                </a:cubicBezTo>
                <a:cubicBezTo>
                  <a:pt x="5847" y="2624"/>
                  <a:pt x="5878" y="2684"/>
                  <a:pt x="5877" y="2694"/>
                </a:cubicBezTo>
                <a:cubicBezTo>
                  <a:pt x="5875" y="2704"/>
                  <a:pt x="5859" y="2672"/>
                  <a:pt x="5859" y="2672"/>
                </a:cubicBezTo>
                <a:cubicBezTo>
                  <a:pt x="5859" y="2672"/>
                  <a:pt x="5841" y="2727"/>
                  <a:pt x="5829" y="2726"/>
                </a:cubicBezTo>
                <a:cubicBezTo>
                  <a:pt x="5818" y="2726"/>
                  <a:pt x="5824" y="2681"/>
                  <a:pt x="5824" y="2681"/>
                </a:cubicBezTo>
                <a:cubicBezTo>
                  <a:pt x="5807" y="2697"/>
                  <a:pt x="5807" y="2697"/>
                  <a:pt x="5807" y="2697"/>
                </a:cubicBezTo>
                <a:cubicBezTo>
                  <a:pt x="5807" y="2697"/>
                  <a:pt x="5796" y="2730"/>
                  <a:pt x="5790" y="2730"/>
                </a:cubicBezTo>
                <a:cubicBezTo>
                  <a:pt x="5784" y="2730"/>
                  <a:pt x="5775" y="2706"/>
                  <a:pt x="5775" y="2706"/>
                </a:cubicBezTo>
                <a:cubicBezTo>
                  <a:pt x="5747" y="2668"/>
                  <a:pt x="5747" y="2668"/>
                  <a:pt x="5747" y="2668"/>
                </a:cubicBezTo>
                <a:cubicBezTo>
                  <a:pt x="5747" y="2668"/>
                  <a:pt x="5683" y="2711"/>
                  <a:pt x="5668" y="2711"/>
                </a:cubicBezTo>
                <a:cubicBezTo>
                  <a:pt x="5653" y="2711"/>
                  <a:pt x="5667" y="2650"/>
                  <a:pt x="5675" y="2640"/>
                </a:cubicBezTo>
                <a:cubicBezTo>
                  <a:pt x="5683" y="2630"/>
                  <a:pt x="5672" y="2589"/>
                  <a:pt x="5677" y="2575"/>
                </a:cubicBezTo>
                <a:cubicBezTo>
                  <a:pt x="5683" y="2561"/>
                  <a:pt x="5686" y="2531"/>
                  <a:pt x="5692" y="2507"/>
                </a:cubicBezTo>
                <a:cubicBezTo>
                  <a:pt x="5698" y="2483"/>
                  <a:pt x="5683" y="2398"/>
                  <a:pt x="5690" y="2378"/>
                </a:cubicBezTo>
                <a:cubicBezTo>
                  <a:pt x="5697" y="2358"/>
                  <a:pt x="5698" y="2306"/>
                  <a:pt x="5698" y="2306"/>
                </a:cubicBezTo>
                <a:cubicBezTo>
                  <a:pt x="5698" y="2306"/>
                  <a:pt x="5685" y="2272"/>
                  <a:pt x="5679" y="2256"/>
                </a:cubicBezTo>
                <a:cubicBezTo>
                  <a:pt x="5674" y="2240"/>
                  <a:pt x="5691" y="2221"/>
                  <a:pt x="5693" y="2201"/>
                </a:cubicBezTo>
                <a:cubicBezTo>
                  <a:pt x="5695" y="2181"/>
                  <a:pt x="5687" y="2150"/>
                  <a:pt x="5687" y="2127"/>
                </a:cubicBezTo>
                <a:cubicBezTo>
                  <a:pt x="5687" y="2104"/>
                  <a:pt x="5700" y="2103"/>
                  <a:pt x="5710" y="2098"/>
                </a:cubicBezTo>
                <a:cubicBezTo>
                  <a:pt x="5720" y="2094"/>
                  <a:pt x="5736" y="2065"/>
                  <a:pt x="5751" y="2053"/>
                </a:cubicBezTo>
                <a:cubicBezTo>
                  <a:pt x="5765" y="2041"/>
                  <a:pt x="5781" y="2022"/>
                  <a:pt x="5781" y="2022"/>
                </a:cubicBezTo>
                <a:cubicBezTo>
                  <a:pt x="5781" y="2022"/>
                  <a:pt x="5810" y="2015"/>
                  <a:pt x="5821" y="2010"/>
                </a:cubicBezTo>
                <a:cubicBezTo>
                  <a:pt x="5833" y="2004"/>
                  <a:pt x="5817" y="2004"/>
                  <a:pt x="5813" y="1984"/>
                </a:cubicBezTo>
                <a:cubicBezTo>
                  <a:pt x="5810" y="1964"/>
                  <a:pt x="5835" y="1977"/>
                  <a:pt x="5835" y="1977"/>
                </a:cubicBezTo>
                <a:cubicBezTo>
                  <a:pt x="5835" y="1962"/>
                  <a:pt x="5835" y="1962"/>
                  <a:pt x="5835" y="1962"/>
                </a:cubicBezTo>
                <a:cubicBezTo>
                  <a:pt x="5835" y="1962"/>
                  <a:pt x="5849" y="1964"/>
                  <a:pt x="5862" y="1952"/>
                </a:cubicBezTo>
                <a:cubicBezTo>
                  <a:pt x="5875" y="1941"/>
                  <a:pt x="5865" y="1930"/>
                  <a:pt x="5870" y="1922"/>
                </a:cubicBezTo>
                <a:cubicBezTo>
                  <a:pt x="5875" y="1914"/>
                  <a:pt x="5885" y="1924"/>
                  <a:pt x="5893" y="1923"/>
                </a:cubicBezTo>
                <a:cubicBezTo>
                  <a:pt x="5900" y="1922"/>
                  <a:pt x="5903" y="1906"/>
                  <a:pt x="5903" y="1906"/>
                </a:cubicBezTo>
                <a:cubicBezTo>
                  <a:pt x="5885" y="1902"/>
                  <a:pt x="5885" y="1902"/>
                  <a:pt x="5885" y="1902"/>
                </a:cubicBezTo>
                <a:cubicBezTo>
                  <a:pt x="5892" y="1884"/>
                  <a:pt x="5892" y="1884"/>
                  <a:pt x="5892" y="1884"/>
                </a:cubicBezTo>
                <a:cubicBezTo>
                  <a:pt x="5892" y="1884"/>
                  <a:pt x="5885" y="1876"/>
                  <a:pt x="5885" y="1854"/>
                </a:cubicBezTo>
                <a:cubicBezTo>
                  <a:pt x="5886" y="1831"/>
                  <a:pt x="5899" y="1842"/>
                  <a:pt x="5919" y="1834"/>
                </a:cubicBezTo>
                <a:cubicBezTo>
                  <a:pt x="5939" y="1825"/>
                  <a:pt x="5955" y="1806"/>
                  <a:pt x="5967" y="1794"/>
                </a:cubicBezTo>
                <a:cubicBezTo>
                  <a:pt x="5979" y="1782"/>
                  <a:pt x="5984" y="1801"/>
                  <a:pt x="5999" y="1802"/>
                </a:cubicBezTo>
                <a:cubicBezTo>
                  <a:pt x="6013" y="1802"/>
                  <a:pt x="6011" y="1782"/>
                  <a:pt x="6021" y="1786"/>
                </a:cubicBezTo>
                <a:cubicBezTo>
                  <a:pt x="6030" y="1791"/>
                  <a:pt x="6005" y="1810"/>
                  <a:pt x="5998" y="1825"/>
                </a:cubicBezTo>
                <a:cubicBezTo>
                  <a:pt x="5991" y="1840"/>
                  <a:pt x="6007" y="1847"/>
                  <a:pt x="6019" y="1838"/>
                </a:cubicBezTo>
                <a:cubicBezTo>
                  <a:pt x="6032" y="1830"/>
                  <a:pt x="6026" y="1810"/>
                  <a:pt x="6030" y="1798"/>
                </a:cubicBezTo>
                <a:cubicBezTo>
                  <a:pt x="6034" y="1785"/>
                  <a:pt x="6050" y="1790"/>
                  <a:pt x="6050" y="1790"/>
                </a:cubicBezTo>
                <a:cubicBezTo>
                  <a:pt x="6053" y="1731"/>
                  <a:pt x="6053" y="1731"/>
                  <a:pt x="6053" y="1731"/>
                </a:cubicBezTo>
                <a:cubicBezTo>
                  <a:pt x="6053" y="1731"/>
                  <a:pt x="6085" y="1731"/>
                  <a:pt x="6088" y="1725"/>
                </a:cubicBezTo>
                <a:cubicBezTo>
                  <a:pt x="6091" y="1719"/>
                  <a:pt x="6079" y="1705"/>
                  <a:pt x="6079" y="1705"/>
                </a:cubicBezTo>
                <a:cubicBezTo>
                  <a:pt x="6079" y="1705"/>
                  <a:pt x="6081" y="1702"/>
                  <a:pt x="6084" y="1702"/>
                </a:cubicBezTo>
                <a:cubicBezTo>
                  <a:pt x="6087" y="1702"/>
                  <a:pt x="6107" y="1690"/>
                  <a:pt x="6106" y="1670"/>
                </a:cubicBezTo>
                <a:cubicBezTo>
                  <a:pt x="6105" y="1649"/>
                  <a:pt x="6083" y="1664"/>
                  <a:pt x="6075" y="1669"/>
                </a:cubicBezTo>
                <a:cubicBezTo>
                  <a:pt x="6066" y="1674"/>
                  <a:pt x="6059" y="1699"/>
                  <a:pt x="6059" y="1699"/>
                </a:cubicBezTo>
                <a:cubicBezTo>
                  <a:pt x="6048" y="1684"/>
                  <a:pt x="6048" y="1684"/>
                  <a:pt x="6048" y="1684"/>
                </a:cubicBezTo>
                <a:cubicBezTo>
                  <a:pt x="6029" y="1674"/>
                  <a:pt x="6029" y="1674"/>
                  <a:pt x="6029" y="1674"/>
                </a:cubicBezTo>
                <a:cubicBezTo>
                  <a:pt x="6029" y="1674"/>
                  <a:pt x="6035" y="1670"/>
                  <a:pt x="6035" y="1664"/>
                </a:cubicBezTo>
                <a:cubicBezTo>
                  <a:pt x="6035" y="1657"/>
                  <a:pt x="6014" y="1634"/>
                  <a:pt x="6014" y="1634"/>
                </a:cubicBezTo>
                <a:cubicBezTo>
                  <a:pt x="6009" y="1559"/>
                  <a:pt x="6009" y="1559"/>
                  <a:pt x="6009" y="1559"/>
                </a:cubicBezTo>
                <a:cubicBezTo>
                  <a:pt x="6009" y="1559"/>
                  <a:pt x="6013" y="1556"/>
                  <a:pt x="6000" y="1548"/>
                </a:cubicBezTo>
                <a:cubicBezTo>
                  <a:pt x="5987" y="1541"/>
                  <a:pt x="5989" y="1502"/>
                  <a:pt x="5989" y="1502"/>
                </a:cubicBezTo>
                <a:cubicBezTo>
                  <a:pt x="5989" y="1502"/>
                  <a:pt x="5993" y="1505"/>
                  <a:pt x="5975" y="1492"/>
                </a:cubicBezTo>
                <a:cubicBezTo>
                  <a:pt x="5957" y="1478"/>
                  <a:pt x="5971" y="1440"/>
                  <a:pt x="5971" y="1440"/>
                </a:cubicBezTo>
                <a:cubicBezTo>
                  <a:pt x="5988" y="1425"/>
                  <a:pt x="5988" y="1425"/>
                  <a:pt x="5988" y="1425"/>
                </a:cubicBezTo>
                <a:cubicBezTo>
                  <a:pt x="5985" y="1404"/>
                  <a:pt x="5985" y="1404"/>
                  <a:pt x="5985" y="1404"/>
                </a:cubicBezTo>
                <a:cubicBezTo>
                  <a:pt x="5999" y="1395"/>
                  <a:pt x="5999" y="1395"/>
                  <a:pt x="5999" y="1395"/>
                </a:cubicBezTo>
                <a:cubicBezTo>
                  <a:pt x="6003" y="1368"/>
                  <a:pt x="6003" y="1368"/>
                  <a:pt x="6003" y="1368"/>
                </a:cubicBezTo>
                <a:cubicBezTo>
                  <a:pt x="6034" y="1366"/>
                  <a:pt x="6034" y="1366"/>
                  <a:pt x="6034" y="1366"/>
                </a:cubicBezTo>
                <a:cubicBezTo>
                  <a:pt x="6029" y="1324"/>
                  <a:pt x="6029" y="1324"/>
                  <a:pt x="6029" y="1324"/>
                </a:cubicBezTo>
                <a:cubicBezTo>
                  <a:pt x="6029" y="1324"/>
                  <a:pt x="6052" y="1348"/>
                  <a:pt x="6059" y="1361"/>
                </a:cubicBezTo>
                <a:cubicBezTo>
                  <a:pt x="6065" y="1374"/>
                  <a:pt x="6090" y="1390"/>
                  <a:pt x="6090" y="1390"/>
                </a:cubicBezTo>
                <a:cubicBezTo>
                  <a:pt x="6104" y="1373"/>
                  <a:pt x="6104" y="1373"/>
                  <a:pt x="6104" y="1373"/>
                </a:cubicBezTo>
                <a:cubicBezTo>
                  <a:pt x="6128" y="1396"/>
                  <a:pt x="6128" y="1396"/>
                  <a:pt x="6128" y="1396"/>
                </a:cubicBezTo>
                <a:cubicBezTo>
                  <a:pt x="6128" y="1396"/>
                  <a:pt x="6119" y="1311"/>
                  <a:pt x="6119" y="1308"/>
                </a:cubicBezTo>
                <a:cubicBezTo>
                  <a:pt x="6119" y="1304"/>
                  <a:pt x="6108" y="1240"/>
                  <a:pt x="6108" y="1240"/>
                </a:cubicBezTo>
                <a:cubicBezTo>
                  <a:pt x="6121" y="1240"/>
                  <a:pt x="6121" y="1240"/>
                  <a:pt x="6121" y="1240"/>
                </a:cubicBezTo>
                <a:cubicBezTo>
                  <a:pt x="6124" y="1224"/>
                  <a:pt x="6124" y="1224"/>
                  <a:pt x="6124" y="1224"/>
                </a:cubicBezTo>
                <a:cubicBezTo>
                  <a:pt x="6105" y="1226"/>
                  <a:pt x="6105" y="1226"/>
                  <a:pt x="6105" y="1226"/>
                </a:cubicBezTo>
                <a:cubicBezTo>
                  <a:pt x="6105" y="1226"/>
                  <a:pt x="6050" y="1170"/>
                  <a:pt x="6050" y="1164"/>
                </a:cubicBezTo>
                <a:cubicBezTo>
                  <a:pt x="6050" y="1157"/>
                  <a:pt x="6058" y="1160"/>
                  <a:pt x="6058" y="1160"/>
                </a:cubicBezTo>
                <a:cubicBezTo>
                  <a:pt x="6058" y="1160"/>
                  <a:pt x="6058" y="1130"/>
                  <a:pt x="6064" y="1124"/>
                </a:cubicBezTo>
                <a:cubicBezTo>
                  <a:pt x="6070" y="1117"/>
                  <a:pt x="6079" y="1123"/>
                  <a:pt x="6079" y="1123"/>
                </a:cubicBezTo>
                <a:cubicBezTo>
                  <a:pt x="6079" y="1123"/>
                  <a:pt x="6095" y="1111"/>
                  <a:pt x="6102" y="1114"/>
                </a:cubicBezTo>
                <a:cubicBezTo>
                  <a:pt x="6109" y="1118"/>
                  <a:pt x="6091" y="1134"/>
                  <a:pt x="6094" y="1150"/>
                </a:cubicBezTo>
                <a:cubicBezTo>
                  <a:pt x="6097" y="1167"/>
                  <a:pt x="6112" y="1173"/>
                  <a:pt x="6123" y="1178"/>
                </a:cubicBezTo>
                <a:cubicBezTo>
                  <a:pt x="6133" y="1182"/>
                  <a:pt x="6149" y="1209"/>
                  <a:pt x="6151" y="1210"/>
                </a:cubicBezTo>
                <a:cubicBezTo>
                  <a:pt x="6153" y="1212"/>
                  <a:pt x="6167" y="1212"/>
                  <a:pt x="6167" y="1212"/>
                </a:cubicBezTo>
                <a:cubicBezTo>
                  <a:pt x="6167" y="1212"/>
                  <a:pt x="6169" y="1224"/>
                  <a:pt x="6175" y="1234"/>
                </a:cubicBezTo>
                <a:cubicBezTo>
                  <a:pt x="6181" y="1245"/>
                  <a:pt x="6197" y="1243"/>
                  <a:pt x="6197" y="1243"/>
                </a:cubicBezTo>
                <a:cubicBezTo>
                  <a:pt x="6194" y="1338"/>
                  <a:pt x="6194" y="1338"/>
                  <a:pt x="6194" y="1338"/>
                </a:cubicBezTo>
                <a:cubicBezTo>
                  <a:pt x="6205" y="1345"/>
                  <a:pt x="6205" y="1345"/>
                  <a:pt x="6205" y="1345"/>
                </a:cubicBezTo>
                <a:cubicBezTo>
                  <a:pt x="6205" y="1345"/>
                  <a:pt x="6215" y="1376"/>
                  <a:pt x="6227" y="1392"/>
                </a:cubicBezTo>
                <a:cubicBezTo>
                  <a:pt x="6239" y="1409"/>
                  <a:pt x="6231" y="1432"/>
                  <a:pt x="6231" y="1442"/>
                </a:cubicBezTo>
                <a:cubicBezTo>
                  <a:pt x="6231" y="1451"/>
                  <a:pt x="6239" y="1455"/>
                  <a:pt x="6239" y="1455"/>
                </a:cubicBezTo>
                <a:cubicBezTo>
                  <a:pt x="6239" y="1455"/>
                  <a:pt x="6242" y="1481"/>
                  <a:pt x="6243" y="1488"/>
                </a:cubicBezTo>
                <a:cubicBezTo>
                  <a:pt x="6243" y="1496"/>
                  <a:pt x="6249" y="1494"/>
                  <a:pt x="6265" y="1514"/>
                </a:cubicBezTo>
                <a:cubicBezTo>
                  <a:pt x="6280" y="1534"/>
                  <a:pt x="6291" y="1613"/>
                  <a:pt x="6291" y="1613"/>
                </a:cubicBezTo>
                <a:cubicBezTo>
                  <a:pt x="6291" y="1613"/>
                  <a:pt x="6279" y="1630"/>
                  <a:pt x="6276" y="1641"/>
                </a:cubicBezTo>
                <a:cubicBezTo>
                  <a:pt x="6273" y="1652"/>
                  <a:pt x="6286" y="1663"/>
                  <a:pt x="6286" y="1665"/>
                </a:cubicBezTo>
                <a:cubicBezTo>
                  <a:pt x="6286" y="1667"/>
                  <a:pt x="6264" y="1683"/>
                  <a:pt x="6262" y="1686"/>
                </a:cubicBezTo>
                <a:cubicBezTo>
                  <a:pt x="6260" y="1688"/>
                  <a:pt x="6287" y="1695"/>
                  <a:pt x="6303" y="1702"/>
                </a:cubicBezTo>
                <a:cubicBezTo>
                  <a:pt x="6318" y="1710"/>
                  <a:pt x="6321" y="1780"/>
                  <a:pt x="6321" y="1780"/>
                </a:cubicBezTo>
                <a:cubicBezTo>
                  <a:pt x="6386" y="1855"/>
                  <a:pt x="6386" y="1855"/>
                  <a:pt x="6386" y="1855"/>
                </a:cubicBezTo>
                <a:cubicBezTo>
                  <a:pt x="6386" y="1855"/>
                  <a:pt x="6425" y="1897"/>
                  <a:pt x="6432" y="1899"/>
                </a:cubicBezTo>
                <a:cubicBezTo>
                  <a:pt x="6439" y="1901"/>
                  <a:pt x="6636" y="2006"/>
                  <a:pt x="6639" y="2009"/>
                </a:cubicBezTo>
                <a:cubicBezTo>
                  <a:pt x="6643" y="2012"/>
                  <a:pt x="6656" y="2012"/>
                  <a:pt x="6668" y="2012"/>
                </a:cubicBezTo>
                <a:cubicBezTo>
                  <a:pt x="6680" y="2013"/>
                  <a:pt x="6741" y="2056"/>
                  <a:pt x="6753" y="2066"/>
                </a:cubicBezTo>
                <a:cubicBezTo>
                  <a:pt x="6764" y="2076"/>
                  <a:pt x="6797" y="2071"/>
                  <a:pt x="6797" y="2071"/>
                </a:cubicBezTo>
                <a:lnTo>
                  <a:pt x="6781" y="2008"/>
                </a:lnTo>
                <a:close/>
                <a:moveTo>
                  <a:pt x="930" y="1753"/>
                </a:moveTo>
                <a:cubicBezTo>
                  <a:pt x="925" y="1767"/>
                  <a:pt x="936" y="1822"/>
                  <a:pt x="924" y="1844"/>
                </a:cubicBezTo>
                <a:cubicBezTo>
                  <a:pt x="911" y="1865"/>
                  <a:pt x="880" y="1876"/>
                  <a:pt x="875" y="1873"/>
                </a:cubicBezTo>
                <a:cubicBezTo>
                  <a:pt x="871" y="1870"/>
                  <a:pt x="858" y="1856"/>
                  <a:pt x="845" y="1856"/>
                </a:cubicBezTo>
                <a:cubicBezTo>
                  <a:pt x="833" y="1856"/>
                  <a:pt x="820" y="1870"/>
                  <a:pt x="816" y="1865"/>
                </a:cubicBezTo>
                <a:cubicBezTo>
                  <a:pt x="811" y="1861"/>
                  <a:pt x="803" y="1856"/>
                  <a:pt x="803" y="1856"/>
                </a:cubicBezTo>
                <a:cubicBezTo>
                  <a:pt x="803" y="1856"/>
                  <a:pt x="820" y="1847"/>
                  <a:pt x="822" y="1834"/>
                </a:cubicBezTo>
                <a:cubicBezTo>
                  <a:pt x="824" y="1822"/>
                  <a:pt x="856" y="1732"/>
                  <a:pt x="856" y="1732"/>
                </a:cubicBezTo>
                <a:cubicBezTo>
                  <a:pt x="856" y="1732"/>
                  <a:pt x="885" y="1720"/>
                  <a:pt x="889" y="1723"/>
                </a:cubicBezTo>
                <a:cubicBezTo>
                  <a:pt x="894" y="1726"/>
                  <a:pt x="911" y="1732"/>
                  <a:pt x="911" y="1732"/>
                </a:cubicBezTo>
                <a:cubicBezTo>
                  <a:pt x="911" y="1732"/>
                  <a:pt x="932" y="1715"/>
                  <a:pt x="932" y="1720"/>
                </a:cubicBezTo>
                <a:cubicBezTo>
                  <a:pt x="932" y="1724"/>
                  <a:pt x="935" y="1739"/>
                  <a:pt x="930" y="1753"/>
                </a:cubicBezTo>
                <a:close/>
                <a:moveTo>
                  <a:pt x="1135" y="1833"/>
                </a:moveTo>
                <a:cubicBezTo>
                  <a:pt x="1129" y="1845"/>
                  <a:pt x="1099" y="1855"/>
                  <a:pt x="1099" y="1864"/>
                </a:cubicBezTo>
                <a:cubicBezTo>
                  <a:pt x="1099" y="1873"/>
                  <a:pt x="1074" y="1942"/>
                  <a:pt x="1068" y="1942"/>
                </a:cubicBezTo>
                <a:cubicBezTo>
                  <a:pt x="1062" y="1942"/>
                  <a:pt x="1019" y="1953"/>
                  <a:pt x="1012" y="1944"/>
                </a:cubicBezTo>
                <a:cubicBezTo>
                  <a:pt x="1004" y="1934"/>
                  <a:pt x="1023" y="1938"/>
                  <a:pt x="1013" y="1925"/>
                </a:cubicBezTo>
                <a:cubicBezTo>
                  <a:pt x="1004" y="1912"/>
                  <a:pt x="974" y="1881"/>
                  <a:pt x="1004" y="1892"/>
                </a:cubicBezTo>
                <a:cubicBezTo>
                  <a:pt x="1004" y="1892"/>
                  <a:pt x="1026" y="1928"/>
                  <a:pt x="1037" y="1916"/>
                </a:cubicBezTo>
                <a:cubicBezTo>
                  <a:pt x="1048" y="1903"/>
                  <a:pt x="1038" y="1881"/>
                  <a:pt x="1038" y="1872"/>
                </a:cubicBezTo>
                <a:cubicBezTo>
                  <a:pt x="1038" y="1862"/>
                  <a:pt x="1038" y="1840"/>
                  <a:pt x="1038" y="1840"/>
                </a:cubicBezTo>
                <a:cubicBezTo>
                  <a:pt x="1057" y="1837"/>
                  <a:pt x="1057" y="1837"/>
                  <a:pt x="1057" y="1837"/>
                </a:cubicBezTo>
                <a:cubicBezTo>
                  <a:pt x="1057" y="1837"/>
                  <a:pt x="1052" y="1771"/>
                  <a:pt x="1074" y="1795"/>
                </a:cubicBezTo>
                <a:cubicBezTo>
                  <a:pt x="1096" y="1818"/>
                  <a:pt x="1084" y="1828"/>
                  <a:pt x="1084" y="1828"/>
                </a:cubicBezTo>
                <a:cubicBezTo>
                  <a:pt x="1079" y="1845"/>
                  <a:pt x="1079" y="1845"/>
                  <a:pt x="1079" y="1845"/>
                </a:cubicBezTo>
                <a:cubicBezTo>
                  <a:pt x="1101" y="1847"/>
                  <a:pt x="1101" y="1847"/>
                  <a:pt x="1101" y="1847"/>
                </a:cubicBezTo>
                <a:cubicBezTo>
                  <a:pt x="1101" y="1847"/>
                  <a:pt x="1121" y="1842"/>
                  <a:pt x="1113" y="1823"/>
                </a:cubicBezTo>
                <a:cubicBezTo>
                  <a:pt x="1106" y="1804"/>
                  <a:pt x="1098" y="1787"/>
                  <a:pt x="1107" y="1787"/>
                </a:cubicBezTo>
                <a:cubicBezTo>
                  <a:pt x="1117" y="1787"/>
                  <a:pt x="1142" y="1820"/>
                  <a:pt x="1135" y="1833"/>
                </a:cubicBezTo>
                <a:close/>
                <a:moveTo>
                  <a:pt x="4386" y="3433"/>
                </a:moveTo>
                <a:cubicBezTo>
                  <a:pt x="4380" y="3435"/>
                  <a:pt x="4380" y="3449"/>
                  <a:pt x="4374" y="3459"/>
                </a:cubicBezTo>
                <a:cubicBezTo>
                  <a:pt x="4367" y="3469"/>
                  <a:pt x="4391" y="3456"/>
                  <a:pt x="4391" y="3456"/>
                </a:cubicBezTo>
                <a:cubicBezTo>
                  <a:pt x="4391" y="3456"/>
                  <a:pt x="4399" y="3470"/>
                  <a:pt x="4400" y="3474"/>
                </a:cubicBezTo>
                <a:cubicBezTo>
                  <a:pt x="4401" y="3478"/>
                  <a:pt x="4386" y="3479"/>
                  <a:pt x="4371" y="3489"/>
                </a:cubicBezTo>
                <a:cubicBezTo>
                  <a:pt x="4356" y="3499"/>
                  <a:pt x="4362" y="3540"/>
                  <a:pt x="4362" y="3540"/>
                </a:cubicBezTo>
                <a:cubicBezTo>
                  <a:pt x="4362" y="3540"/>
                  <a:pt x="4350" y="3547"/>
                  <a:pt x="4329" y="3559"/>
                </a:cubicBezTo>
                <a:cubicBezTo>
                  <a:pt x="4309" y="3570"/>
                  <a:pt x="4303" y="3596"/>
                  <a:pt x="4303" y="3596"/>
                </a:cubicBezTo>
                <a:cubicBezTo>
                  <a:pt x="4303" y="3596"/>
                  <a:pt x="4289" y="3596"/>
                  <a:pt x="4280" y="3596"/>
                </a:cubicBezTo>
                <a:cubicBezTo>
                  <a:pt x="4271" y="3596"/>
                  <a:pt x="4275" y="3652"/>
                  <a:pt x="4275" y="3658"/>
                </a:cubicBezTo>
                <a:cubicBezTo>
                  <a:pt x="4275" y="3665"/>
                  <a:pt x="4241" y="3690"/>
                  <a:pt x="4213" y="3698"/>
                </a:cubicBezTo>
                <a:cubicBezTo>
                  <a:pt x="4185" y="3705"/>
                  <a:pt x="4150" y="3703"/>
                  <a:pt x="4150" y="3703"/>
                </a:cubicBezTo>
                <a:cubicBezTo>
                  <a:pt x="4142" y="3700"/>
                  <a:pt x="4194" y="3675"/>
                  <a:pt x="4211" y="3665"/>
                </a:cubicBezTo>
                <a:cubicBezTo>
                  <a:pt x="4227" y="3655"/>
                  <a:pt x="4238" y="3609"/>
                  <a:pt x="4240" y="3600"/>
                </a:cubicBezTo>
                <a:cubicBezTo>
                  <a:pt x="4241" y="3591"/>
                  <a:pt x="4269" y="3579"/>
                  <a:pt x="4280" y="3569"/>
                </a:cubicBezTo>
                <a:cubicBezTo>
                  <a:pt x="4291" y="3559"/>
                  <a:pt x="4281" y="3531"/>
                  <a:pt x="4290" y="3531"/>
                </a:cubicBezTo>
                <a:cubicBezTo>
                  <a:pt x="4299" y="3531"/>
                  <a:pt x="4323" y="3490"/>
                  <a:pt x="4323" y="3490"/>
                </a:cubicBezTo>
                <a:cubicBezTo>
                  <a:pt x="4294" y="3516"/>
                  <a:pt x="4294" y="3516"/>
                  <a:pt x="4294" y="3516"/>
                </a:cubicBezTo>
                <a:cubicBezTo>
                  <a:pt x="4294" y="3516"/>
                  <a:pt x="4314" y="3464"/>
                  <a:pt x="4318" y="3452"/>
                </a:cubicBezTo>
                <a:cubicBezTo>
                  <a:pt x="4322" y="3441"/>
                  <a:pt x="4337" y="3435"/>
                  <a:pt x="4337" y="3435"/>
                </a:cubicBezTo>
                <a:cubicBezTo>
                  <a:pt x="4337" y="3435"/>
                  <a:pt x="4352" y="3320"/>
                  <a:pt x="4364" y="3298"/>
                </a:cubicBezTo>
                <a:cubicBezTo>
                  <a:pt x="4375" y="3277"/>
                  <a:pt x="4350" y="3274"/>
                  <a:pt x="4350" y="3274"/>
                </a:cubicBezTo>
                <a:cubicBezTo>
                  <a:pt x="4350" y="3274"/>
                  <a:pt x="4362" y="3238"/>
                  <a:pt x="4380" y="3238"/>
                </a:cubicBezTo>
                <a:cubicBezTo>
                  <a:pt x="4398" y="3238"/>
                  <a:pt x="4394" y="3368"/>
                  <a:pt x="4394" y="3372"/>
                </a:cubicBezTo>
                <a:cubicBezTo>
                  <a:pt x="4394" y="3375"/>
                  <a:pt x="4401" y="3390"/>
                  <a:pt x="4410" y="3402"/>
                </a:cubicBezTo>
                <a:cubicBezTo>
                  <a:pt x="4419" y="3413"/>
                  <a:pt x="4393" y="3432"/>
                  <a:pt x="4386" y="3433"/>
                </a:cubicBezTo>
                <a:close/>
              </a:path>
            </a:pathLst>
          </a:custGeom>
          <a:gradFill rotWithShape="0">
            <a:gsLst>
              <a:gs pos="0">
                <a:srgbClr val="F8F8F8"/>
              </a:gs>
              <a:gs pos="100000">
                <a:srgbClr val="C0C0C0"/>
              </a:gs>
            </a:gsLst>
            <a:lin ang="5400000" scaled="1"/>
          </a:gradFill>
          <a:ln w="6350" cap="flat" cmpd="sng">
            <a:solidFill>
              <a:srgbClr val="E2E2E2"/>
            </a:solidFill>
            <a:prstDash val="solid"/>
            <a:round/>
            <a:headEnd type="none" w="med" len="med"/>
            <a:tailEnd type="none" w="med" len="med"/>
          </a:ln>
          <a:effectLst>
            <a:outerShdw dist="63500" dir="2212194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cs-CZ">
              <a:latin typeface="Arial" pitchFamily="34" charset="0"/>
            </a:endParaRPr>
          </a:p>
        </p:txBody>
      </p:sp>
      <p:grpSp>
        <p:nvGrpSpPr>
          <p:cNvPr id="17439" name="Group 218"/>
          <p:cNvGrpSpPr>
            <a:grpSpLocks/>
          </p:cNvGrpSpPr>
          <p:nvPr/>
        </p:nvGrpSpPr>
        <p:grpSpPr bwMode="auto">
          <a:xfrm>
            <a:off x="582613" y="887413"/>
            <a:ext cx="8007350" cy="4645025"/>
            <a:chOff x="421" y="601"/>
            <a:chExt cx="5044" cy="2926"/>
          </a:xfrm>
        </p:grpSpPr>
        <p:sp>
          <p:nvSpPr>
            <p:cNvPr id="17468" name="Freeform 219"/>
            <p:cNvSpPr>
              <a:spLocks noChangeAspect="1" noEditPoints="1"/>
            </p:cNvSpPr>
            <p:nvPr/>
          </p:nvSpPr>
          <p:spPr bwMode="auto">
            <a:xfrm>
              <a:off x="3243" y="601"/>
              <a:ext cx="2222" cy="2805"/>
            </a:xfrm>
            <a:custGeom>
              <a:avLst/>
              <a:gdLst>
                <a:gd name="T0" fmla="*/ 890 w 3054"/>
                <a:gd name="T1" fmla="*/ 816 h 3856"/>
                <a:gd name="T2" fmla="*/ 759 w 3054"/>
                <a:gd name="T3" fmla="*/ 1077 h 3856"/>
                <a:gd name="T4" fmla="*/ 682 w 3054"/>
                <a:gd name="T5" fmla="*/ 1189 h 3856"/>
                <a:gd name="T6" fmla="*/ 754 w 3054"/>
                <a:gd name="T7" fmla="*/ 1004 h 3856"/>
                <a:gd name="T8" fmla="*/ 690 w 3054"/>
                <a:gd name="T9" fmla="*/ 919 h 3856"/>
                <a:gd name="T10" fmla="*/ 821 w 3054"/>
                <a:gd name="T11" fmla="*/ 1074 h 3856"/>
                <a:gd name="T12" fmla="*/ 3032 w 3054"/>
                <a:gd name="T13" fmla="*/ 2511 h 3856"/>
                <a:gd name="T14" fmla="*/ 2918 w 3054"/>
                <a:gd name="T15" fmla="*/ 1347 h 3856"/>
                <a:gd name="T16" fmla="*/ 2982 w 3054"/>
                <a:gd name="T17" fmla="*/ 2942 h 3856"/>
                <a:gd name="T18" fmla="*/ 2929 w 3054"/>
                <a:gd name="T19" fmla="*/ 2113 h 3856"/>
                <a:gd name="T20" fmla="*/ 881 w 3054"/>
                <a:gd name="T21" fmla="*/ 1372 h 3856"/>
                <a:gd name="T22" fmla="*/ 3020 w 3054"/>
                <a:gd name="T23" fmla="*/ 3025 h 3856"/>
                <a:gd name="T24" fmla="*/ 3039 w 3054"/>
                <a:gd name="T25" fmla="*/ 2567 h 3856"/>
                <a:gd name="T26" fmla="*/ 2771 w 3054"/>
                <a:gd name="T27" fmla="*/ 1744 h 3856"/>
                <a:gd name="T28" fmla="*/ 2634 w 3054"/>
                <a:gd name="T29" fmla="*/ 1482 h 3856"/>
                <a:gd name="T30" fmla="*/ 2407 w 3054"/>
                <a:gd name="T31" fmla="*/ 1272 h 3856"/>
                <a:gd name="T32" fmla="*/ 2476 w 3054"/>
                <a:gd name="T33" fmla="*/ 873 h 3856"/>
                <a:gd name="T34" fmla="*/ 2443 w 3054"/>
                <a:gd name="T35" fmla="*/ 504 h 3856"/>
                <a:gd name="T36" fmla="*/ 2207 w 3054"/>
                <a:gd name="T37" fmla="*/ 538 h 3856"/>
                <a:gd name="T38" fmla="*/ 2129 w 3054"/>
                <a:gd name="T39" fmla="*/ 336 h 3856"/>
                <a:gd name="T40" fmla="*/ 2364 w 3054"/>
                <a:gd name="T41" fmla="*/ 157 h 3856"/>
                <a:gd name="T42" fmla="*/ 2224 w 3054"/>
                <a:gd name="T43" fmla="*/ 0 h 3856"/>
                <a:gd name="T44" fmla="*/ 2063 w 3054"/>
                <a:gd name="T45" fmla="*/ 172 h 3856"/>
                <a:gd name="T46" fmla="*/ 1724 w 3054"/>
                <a:gd name="T47" fmla="*/ 451 h 3856"/>
                <a:gd name="T48" fmla="*/ 1639 w 3054"/>
                <a:gd name="T49" fmla="*/ 725 h 3856"/>
                <a:gd name="T50" fmla="*/ 1236 w 3054"/>
                <a:gd name="T51" fmla="*/ 1069 h 3856"/>
                <a:gd name="T52" fmla="*/ 1027 w 3054"/>
                <a:gd name="T53" fmla="*/ 1183 h 3856"/>
                <a:gd name="T54" fmla="*/ 876 w 3054"/>
                <a:gd name="T55" fmla="*/ 1208 h 3856"/>
                <a:gd name="T56" fmla="*/ 839 w 3054"/>
                <a:gd name="T57" fmla="*/ 1369 h 3856"/>
                <a:gd name="T58" fmla="*/ 584 w 3054"/>
                <a:gd name="T59" fmla="*/ 1465 h 3856"/>
                <a:gd name="T60" fmla="*/ 476 w 3054"/>
                <a:gd name="T61" fmla="*/ 1389 h 3856"/>
                <a:gd name="T62" fmla="*/ 269 w 3054"/>
                <a:gd name="T63" fmla="*/ 1473 h 3856"/>
                <a:gd name="T64" fmla="*/ 42 w 3054"/>
                <a:gd name="T65" fmla="*/ 1576 h 3856"/>
                <a:gd name="T66" fmla="*/ 76 w 3054"/>
                <a:gd name="T67" fmla="*/ 1935 h 3856"/>
                <a:gd name="T68" fmla="*/ 132 w 3054"/>
                <a:gd name="T69" fmla="*/ 2373 h 3856"/>
                <a:gd name="T70" fmla="*/ 307 w 3054"/>
                <a:gd name="T71" fmla="*/ 2594 h 3856"/>
                <a:gd name="T72" fmla="*/ 379 w 3054"/>
                <a:gd name="T73" fmla="*/ 2911 h 3856"/>
                <a:gd name="T74" fmla="*/ 609 w 3054"/>
                <a:gd name="T75" fmla="*/ 2781 h 3856"/>
                <a:gd name="T76" fmla="*/ 855 w 3054"/>
                <a:gd name="T77" fmla="*/ 2827 h 3856"/>
                <a:gd name="T78" fmla="*/ 1116 w 3054"/>
                <a:gd name="T79" fmla="*/ 3022 h 3856"/>
                <a:gd name="T80" fmla="*/ 1515 w 3054"/>
                <a:gd name="T81" fmla="*/ 3204 h 3856"/>
                <a:gd name="T82" fmla="*/ 1933 w 3054"/>
                <a:gd name="T83" fmla="*/ 3394 h 3856"/>
                <a:gd name="T84" fmla="*/ 2203 w 3054"/>
                <a:gd name="T85" fmla="*/ 3465 h 3856"/>
                <a:gd name="T86" fmla="*/ 2239 w 3054"/>
                <a:gd name="T87" fmla="*/ 3856 h 3856"/>
                <a:gd name="T88" fmla="*/ 2431 w 3054"/>
                <a:gd name="T89" fmla="*/ 3574 h 3856"/>
                <a:gd name="T90" fmla="*/ 2219 w 3054"/>
                <a:gd name="T91" fmla="*/ 2678 h 3856"/>
                <a:gd name="T92" fmla="*/ 1949 w 3054"/>
                <a:gd name="T93" fmla="*/ 2726 h 3856"/>
                <a:gd name="T94" fmla="*/ 1799 w 3054"/>
                <a:gd name="T95" fmla="*/ 2256 h 3856"/>
                <a:gd name="T96" fmla="*/ 2013 w 3054"/>
                <a:gd name="T97" fmla="*/ 1923 h 3856"/>
                <a:gd name="T98" fmla="*/ 2170 w 3054"/>
                <a:gd name="T99" fmla="*/ 1790 h 3856"/>
                <a:gd name="T100" fmla="*/ 2129 w 3054"/>
                <a:gd name="T101" fmla="*/ 1559 h 3856"/>
                <a:gd name="T102" fmla="*/ 2210 w 3054"/>
                <a:gd name="T103" fmla="*/ 1390 h 3856"/>
                <a:gd name="T104" fmla="*/ 2222 w 3054"/>
                <a:gd name="T105" fmla="*/ 1114 h 3856"/>
                <a:gd name="T106" fmla="*/ 2363 w 3054"/>
                <a:gd name="T107" fmla="*/ 1488 h 3856"/>
                <a:gd name="T108" fmla="*/ 2873 w 3054"/>
                <a:gd name="T109" fmla="*/ 2066 h 3856"/>
                <a:gd name="T110" fmla="*/ 2587 w 3054"/>
                <a:gd name="T111" fmla="*/ 2781 h 3856"/>
                <a:gd name="T112" fmla="*/ 2127 w 3054"/>
                <a:gd name="T113" fmla="*/ 2495 h 3856"/>
                <a:gd name="T114" fmla="*/ 2498 w 3054"/>
                <a:gd name="T115" fmla="*/ 2915 h 3856"/>
                <a:gd name="T116" fmla="*/ 2097 w 3054"/>
                <a:gd name="T117" fmla="*/ 1851 h 3856"/>
                <a:gd name="T118" fmla="*/ 1868 w 3054"/>
                <a:gd name="T119" fmla="*/ 2597 h 38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054"/>
                <a:gd name="T181" fmla="*/ 0 h 3856"/>
                <a:gd name="T182" fmla="*/ 3054 w 3054"/>
                <a:gd name="T183" fmla="*/ 3856 h 38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054" h="3856">
                  <a:moveTo>
                    <a:pt x="729" y="728"/>
                  </a:moveTo>
                  <a:cubicBezTo>
                    <a:pt x="729" y="756"/>
                    <a:pt x="729" y="756"/>
                    <a:pt x="729" y="756"/>
                  </a:cubicBezTo>
                  <a:cubicBezTo>
                    <a:pt x="740" y="740"/>
                    <a:pt x="740" y="740"/>
                    <a:pt x="740" y="740"/>
                  </a:cubicBezTo>
                  <a:lnTo>
                    <a:pt x="729" y="728"/>
                  </a:lnTo>
                  <a:close/>
                  <a:moveTo>
                    <a:pt x="577" y="1079"/>
                  </a:moveTo>
                  <a:cubicBezTo>
                    <a:pt x="580" y="1070"/>
                    <a:pt x="547" y="1030"/>
                    <a:pt x="544" y="1038"/>
                  </a:cubicBezTo>
                  <a:cubicBezTo>
                    <a:pt x="544" y="1038"/>
                    <a:pt x="574" y="1088"/>
                    <a:pt x="577" y="1079"/>
                  </a:cubicBezTo>
                  <a:close/>
                  <a:moveTo>
                    <a:pt x="798" y="907"/>
                  </a:moveTo>
                  <a:cubicBezTo>
                    <a:pt x="815" y="907"/>
                    <a:pt x="820" y="889"/>
                    <a:pt x="843" y="891"/>
                  </a:cubicBezTo>
                  <a:cubicBezTo>
                    <a:pt x="867" y="892"/>
                    <a:pt x="873" y="903"/>
                    <a:pt x="887" y="882"/>
                  </a:cubicBezTo>
                  <a:cubicBezTo>
                    <a:pt x="901" y="860"/>
                    <a:pt x="901" y="831"/>
                    <a:pt x="901" y="831"/>
                  </a:cubicBezTo>
                  <a:cubicBezTo>
                    <a:pt x="890" y="816"/>
                    <a:pt x="890" y="816"/>
                    <a:pt x="890" y="816"/>
                  </a:cubicBezTo>
                  <a:cubicBezTo>
                    <a:pt x="875" y="831"/>
                    <a:pt x="875" y="831"/>
                    <a:pt x="875" y="831"/>
                  </a:cubicBezTo>
                  <a:cubicBezTo>
                    <a:pt x="875" y="831"/>
                    <a:pt x="861" y="825"/>
                    <a:pt x="856" y="833"/>
                  </a:cubicBezTo>
                  <a:cubicBezTo>
                    <a:pt x="851" y="841"/>
                    <a:pt x="842" y="858"/>
                    <a:pt x="842" y="858"/>
                  </a:cubicBezTo>
                  <a:cubicBezTo>
                    <a:pt x="821" y="844"/>
                    <a:pt x="821" y="844"/>
                    <a:pt x="821" y="844"/>
                  </a:cubicBezTo>
                  <a:cubicBezTo>
                    <a:pt x="804" y="856"/>
                    <a:pt x="804" y="856"/>
                    <a:pt x="804" y="856"/>
                  </a:cubicBezTo>
                  <a:cubicBezTo>
                    <a:pt x="804" y="856"/>
                    <a:pt x="817" y="880"/>
                    <a:pt x="804" y="880"/>
                  </a:cubicBezTo>
                  <a:cubicBezTo>
                    <a:pt x="792" y="880"/>
                    <a:pt x="778" y="874"/>
                    <a:pt x="778" y="874"/>
                  </a:cubicBezTo>
                  <a:cubicBezTo>
                    <a:pt x="778" y="874"/>
                    <a:pt x="781" y="907"/>
                    <a:pt x="798" y="907"/>
                  </a:cubicBezTo>
                  <a:close/>
                  <a:moveTo>
                    <a:pt x="759" y="1077"/>
                  </a:moveTo>
                  <a:cubicBezTo>
                    <a:pt x="759" y="1077"/>
                    <a:pt x="732" y="1087"/>
                    <a:pt x="749" y="1098"/>
                  </a:cubicBezTo>
                  <a:cubicBezTo>
                    <a:pt x="767" y="1109"/>
                    <a:pt x="782" y="1113"/>
                    <a:pt x="782" y="1113"/>
                  </a:cubicBezTo>
                  <a:cubicBezTo>
                    <a:pt x="782" y="1113"/>
                    <a:pt x="782" y="1063"/>
                    <a:pt x="759" y="1077"/>
                  </a:cubicBezTo>
                  <a:close/>
                  <a:moveTo>
                    <a:pt x="1674" y="296"/>
                  </a:moveTo>
                  <a:cubicBezTo>
                    <a:pt x="1675" y="269"/>
                    <a:pt x="1675" y="269"/>
                    <a:pt x="1675" y="269"/>
                  </a:cubicBezTo>
                  <a:cubicBezTo>
                    <a:pt x="1663" y="253"/>
                    <a:pt x="1663" y="253"/>
                    <a:pt x="1663" y="253"/>
                  </a:cubicBezTo>
                  <a:cubicBezTo>
                    <a:pt x="1677" y="247"/>
                    <a:pt x="1677" y="247"/>
                    <a:pt x="1677" y="247"/>
                  </a:cubicBezTo>
                  <a:cubicBezTo>
                    <a:pt x="1677" y="247"/>
                    <a:pt x="1683" y="192"/>
                    <a:pt x="1677" y="173"/>
                  </a:cubicBezTo>
                  <a:cubicBezTo>
                    <a:pt x="1671" y="154"/>
                    <a:pt x="1621" y="195"/>
                    <a:pt x="1621" y="195"/>
                  </a:cubicBezTo>
                  <a:cubicBezTo>
                    <a:pt x="1621" y="195"/>
                    <a:pt x="1619" y="198"/>
                    <a:pt x="1619" y="208"/>
                  </a:cubicBezTo>
                  <a:cubicBezTo>
                    <a:pt x="1619" y="217"/>
                    <a:pt x="1613" y="231"/>
                    <a:pt x="1613" y="231"/>
                  </a:cubicBezTo>
                  <a:cubicBezTo>
                    <a:pt x="1613" y="249"/>
                    <a:pt x="1650" y="296"/>
                    <a:pt x="1650" y="296"/>
                  </a:cubicBezTo>
                  <a:lnTo>
                    <a:pt x="1674" y="296"/>
                  </a:lnTo>
                  <a:close/>
                  <a:moveTo>
                    <a:pt x="641" y="1173"/>
                  </a:moveTo>
                  <a:cubicBezTo>
                    <a:pt x="641" y="1173"/>
                    <a:pt x="682" y="1203"/>
                    <a:pt x="682" y="1189"/>
                  </a:cubicBezTo>
                  <a:cubicBezTo>
                    <a:pt x="682" y="1175"/>
                    <a:pt x="649" y="1168"/>
                    <a:pt x="641" y="1173"/>
                  </a:cubicBezTo>
                  <a:close/>
                  <a:moveTo>
                    <a:pt x="580" y="982"/>
                  </a:moveTo>
                  <a:cubicBezTo>
                    <a:pt x="579" y="994"/>
                    <a:pt x="579" y="1004"/>
                    <a:pt x="579" y="1004"/>
                  </a:cubicBezTo>
                  <a:cubicBezTo>
                    <a:pt x="608" y="1043"/>
                    <a:pt x="608" y="1043"/>
                    <a:pt x="608" y="1043"/>
                  </a:cubicBezTo>
                  <a:cubicBezTo>
                    <a:pt x="610" y="1065"/>
                    <a:pt x="610" y="1065"/>
                    <a:pt x="610" y="1065"/>
                  </a:cubicBezTo>
                  <a:cubicBezTo>
                    <a:pt x="610" y="1065"/>
                    <a:pt x="643" y="1065"/>
                    <a:pt x="646" y="1070"/>
                  </a:cubicBezTo>
                  <a:cubicBezTo>
                    <a:pt x="649" y="1074"/>
                    <a:pt x="673" y="1087"/>
                    <a:pt x="673" y="1087"/>
                  </a:cubicBezTo>
                  <a:cubicBezTo>
                    <a:pt x="673" y="1087"/>
                    <a:pt x="710" y="1085"/>
                    <a:pt x="702" y="1071"/>
                  </a:cubicBezTo>
                  <a:cubicBezTo>
                    <a:pt x="695" y="1057"/>
                    <a:pt x="666" y="1043"/>
                    <a:pt x="684" y="1041"/>
                  </a:cubicBezTo>
                  <a:cubicBezTo>
                    <a:pt x="701" y="1040"/>
                    <a:pt x="701" y="1038"/>
                    <a:pt x="709" y="1033"/>
                  </a:cubicBezTo>
                  <a:cubicBezTo>
                    <a:pt x="716" y="1029"/>
                    <a:pt x="735" y="997"/>
                    <a:pt x="735" y="997"/>
                  </a:cubicBezTo>
                  <a:cubicBezTo>
                    <a:pt x="754" y="1004"/>
                    <a:pt x="754" y="1004"/>
                    <a:pt x="754" y="1004"/>
                  </a:cubicBezTo>
                  <a:cubicBezTo>
                    <a:pt x="763" y="972"/>
                    <a:pt x="763" y="972"/>
                    <a:pt x="763" y="972"/>
                  </a:cubicBezTo>
                  <a:cubicBezTo>
                    <a:pt x="763" y="972"/>
                    <a:pt x="754" y="974"/>
                    <a:pt x="734" y="971"/>
                  </a:cubicBezTo>
                  <a:cubicBezTo>
                    <a:pt x="713" y="968"/>
                    <a:pt x="679" y="935"/>
                    <a:pt x="679" y="935"/>
                  </a:cubicBezTo>
                  <a:cubicBezTo>
                    <a:pt x="696" y="925"/>
                    <a:pt x="696" y="925"/>
                    <a:pt x="696" y="925"/>
                  </a:cubicBezTo>
                  <a:cubicBezTo>
                    <a:pt x="696" y="925"/>
                    <a:pt x="712" y="913"/>
                    <a:pt x="712" y="925"/>
                  </a:cubicBezTo>
                  <a:cubicBezTo>
                    <a:pt x="712" y="938"/>
                    <a:pt x="712" y="957"/>
                    <a:pt x="712" y="957"/>
                  </a:cubicBezTo>
                  <a:cubicBezTo>
                    <a:pt x="712" y="957"/>
                    <a:pt x="734" y="957"/>
                    <a:pt x="740" y="957"/>
                  </a:cubicBezTo>
                  <a:cubicBezTo>
                    <a:pt x="746" y="957"/>
                    <a:pt x="781" y="952"/>
                    <a:pt x="776" y="941"/>
                  </a:cubicBezTo>
                  <a:cubicBezTo>
                    <a:pt x="771" y="930"/>
                    <a:pt x="762" y="921"/>
                    <a:pt x="760" y="916"/>
                  </a:cubicBezTo>
                  <a:cubicBezTo>
                    <a:pt x="759" y="911"/>
                    <a:pt x="759" y="892"/>
                    <a:pt x="759" y="892"/>
                  </a:cubicBezTo>
                  <a:cubicBezTo>
                    <a:pt x="759" y="892"/>
                    <a:pt x="737" y="885"/>
                    <a:pt x="720" y="894"/>
                  </a:cubicBezTo>
                  <a:cubicBezTo>
                    <a:pt x="702" y="903"/>
                    <a:pt x="695" y="919"/>
                    <a:pt x="690" y="919"/>
                  </a:cubicBezTo>
                  <a:cubicBezTo>
                    <a:pt x="685" y="919"/>
                    <a:pt x="644" y="916"/>
                    <a:pt x="644" y="916"/>
                  </a:cubicBezTo>
                  <a:cubicBezTo>
                    <a:pt x="641" y="944"/>
                    <a:pt x="641" y="944"/>
                    <a:pt x="641" y="944"/>
                  </a:cubicBezTo>
                  <a:cubicBezTo>
                    <a:pt x="669" y="961"/>
                    <a:pt x="669" y="961"/>
                    <a:pt x="669" y="961"/>
                  </a:cubicBezTo>
                  <a:cubicBezTo>
                    <a:pt x="655" y="976"/>
                    <a:pt x="655" y="976"/>
                    <a:pt x="655" y="976"/>
                  </a:cubicBezTo>
                  <a:cubicBezTo>
                    <a:pt x="643" y="968"/>
                    <a:pt x="643" y="968"/>
                    <a:pt x="643" y="968"/>
                  </a:cubicBezTo>
                  <a:cubicBezTo>
                    <a:pt x="629" y="969"/>
                    <a:pt x="629" y="969"/>
                    <a:pt x="629" y="969"/>
                  </a:cubicBezTo>
                  <a:cubicBezTo>
                    <a:pt x="615" y="960"/>
                    <a:pt x="615" y="960"/>
                    <a:pt x="615" y="960"/>
                  </a:cubicBezTo>
                  <a:cubicBezTo>
                    <a:pt x="577" y="954"/>
                    <a:pt x="577" y="954"/>
                    <a:pt x="577" y="954"/>
                  </a:cubicBezTo>
                  <a:cubicBezTo>
                    <a:pt x="577" y="954"/>
                    <a:pt x="582" y="969"/>
                    <a:pt x="580" y="982"/>
                  </a:cubicBezTo>
                  <a:close/>
                  <a:moveTo>
                    <a:pt x="815" y="1135"/>
                  </a:moveTo>
                  <a:cubicBezTo>
                    <a:pt x="818" y="1126"/>
                    <a:pt x="883" y="1113"/>
                    <a:pt x="887" y="1098"/>
                  </a:cubicBezTo>
                  <a:cubicBezTo>
                    <a:pt x="892" y="1082"/>
                    <a:pt x="850" y="1079"/>
                    <a:pt x="821" y="1074"/>
                  </a:cubicBezTo>
                  <a:cubicBezTo>
                    <a:pt x="793" y="1070"/>
                    <a:pt x="795" y="1109"/>
                    <a:pt x="795" y="1109"/>
                  </a:cubicBezTo>
                  <a:cubicBezTo>
                    <a:pt x="795" y="1109"/>
                    <a:pt x="800" y="1120"/>
                    <a:pt x="807" y="1123"/>
                  </a:cubicBezTo>
                  <a:cubicBezTo>
                    <a:pt x="815" y="1126"/>
                    <a:pt x="798" y="1164"/>
                    <a:pt x="798" y="1164"/>
                  </a:cubicBezTo>
                  <a:cubicBezTo>
                    <a:pt x="798" y="1164"/>
                    <a:pt x="812" y="1145"/>
                    <a:pt x="815" y="1135"/>
                  </a:cubicBezTo>
                  <a:close/>
                  <a:moveTo>
                    <a:pt x="3032" y="2759"/>
                  </a:moveTo>
                  <a:cubicBezTo>
                    <a:pt x="3040" y="2759"/>
                    <a:pt x="3037" y="2726"/>
                    <a:pt x="3037" y="2712"/>
                  </a:cubicBezTo>
                  <a:cubicBezTo>
                    <a:pt x="3037" y="2697"/>
                    <a:pt x="3037" y="2671"/>
                    <a:pt x="3037" y="2671"/>
                  </a:cubicBezTo>
                  <a:cubicBezTo>
                    <a:pt x="3021" y="2683"/>
                    <a:pt x="3021" y="2683"/>
                    <a:pt x="3021" y="2683"/>
                  </a:cubicBezTo>
                  <a:cubicBezTo>
                    <a:pt x="3021" y="2683"/>
                    <a:pt x="3015" y="2759"/>
                    <a:pt x="3032" y="2759"/>
                  </a:cubicBezTo>
                  <a:close/>
                  <a:moveTo>
                    <a:pt x="3032" y="2511"/>
                  </a:moveTo>
                  <a:cubicBezTo>
                    <a:pt x="3032" y="2502"/>
                    <a:pt x="3039" y="2491"/>
                    <a:pt x="3024" y="2492"/>
                  </a:cubicBezTo>
                  <a:cubicBezTo>
                    <a:pt x="3024" y="2492"/>
                    <a:pt x="3032" y="2520"/>
                    <a:pt x="3032" y="2511"/>
                  </a:cubicBezTo>
                  <a:close/>
                  <a:moveTo>
                    <a:pt x="3006" y="2420"/>
                  </a:moveTo>
                  <a:cubicBezTo>
                    <a:pt x="3012" y="2417"/>
                    <a:pt x="3012" y="2406"/>
                    <a:pt x="3001" y="2406"/>
                  </a:cubicBezTo>
                  <a:cubicBezTo>
                    <a:pt x="3001" y="2406"/>
                    <a:pt x="2999" y="2423"/>
                    <a:pt x="3006" y="2420"/>
                  </a:cubicBezTo>
                  <a:close/>
                  <a:moveTo>
                    <a:pt x="2912" y="1397"/>
                  </a:moveTo>
                  <a:cubicBezTo>
                    <a:pt x="2893" y="1383"/>
                    <a:pt x="2893" y="1383"/>
                    <a:pt x="2893" y="1383"/>
                  </a:cubicBezTo>
                  <a:cubicBezTo>
                    <a:pt x="2871" y="1394"/>
                    <a:pt x="2871" y="1394"/>
                    <a:pt x="2871" y="1394"/>
                  </a:cubicBezTo>
                  <a:cubicBezTo>
                    <a:pt x="2846" y="1384"/>
                    <a:pt x="2846" y="1384"/>
                    <a:pt x="2846" y="1384"/>
                  </a:cubicBezTo>
                  <a:cubicBezTo>
                    <a:pt x="2841" y="1405"/>
                    <a:pt x="2841" y="1405"/>
                    <a:pt x="2841" y="1405"/>
                  </a:cubicBezTo>
                  <a:cubicBezTo>
                    <a:pt x="2890" y="1408"/>
                    <a:pt x="2890" y="1408"/>
                    <a:pt x="2890" y="1408"/>
                  </a:cubicBezTo>
                  <a:lnTo>
                    <a:pt x="2912" y="1397"/>
                  </a:lnTo>
                  <a:close/>
                  <a:moveTo>
                    <a:pt x="2962" y="1339"/>
                  </a:moveTo>
                  <a:cubicBezTo>
                    <a:pt x="2952" y="1328"/>
                    <a:pt x="2923" y="1337"/>
                    <a:pt x="2918" y="1347"/>
                  </a:cubicBezTo>
                  <a:cubicBezTo>
                    <a:pt x="2918" y="1347"/>
                    <a:pt x="2971" y="1350"/>
                    <a:pt x="2962" y="1339"/>
                  </a:cubicBezTo>
                  <a:close/>
                  <a:moveTo>
                    <a:pt x="2963" y="2276"/>
                  </a:moveTo>
                  <a:cubicBezTo>
                    <a:pt x="2963" y="2276"/>
                    <a:pt x="2984" y="2281"/>
                    <a:pt x="2974" y="2270"/>
                  </a:cubicBezTo>
                  <a:cubicBezTo>
                    <a:pt x="2965" y="2259"/>
                    <a:pt x="2952" y="2245"/>
                    <a:pt x="2952" y="2245"/>
                  </a:cubicBezTo>
                  <a:lnTo>
                    <a:pt x="2963" y="2276"/>
                  </a:lnTo>
                  <a:close/>
                  <a:moveTo>
                    <a:pt x="3003" y="2848"/>
                  </a:moveTo>
                  <a:cubicBezTo>
                    <a:pt x="3003" y="2843"/>
                    <a:pt x="3024" y="2812"/>
                    <a:pt x="3018" y="2809"/>
                  </a:cubicBezTo>
                  <a:cubicBezTo>
                    <a:pt x="3012" y="2806"/>
                    <a:pt x="2993" y="2799"/>
                    <a:pt x="2992" y="2807"/>
                  </a:cubicBezTo>
                  <a:cubicBezTo>
                    <a:pt x="2990" y="2815"/>
                    <a:pt x="3003" y="2845"/>
                    <a:pt x="2992" y="2848"/>
                  </a:cubicBezTo>
                  <a:cubicBezTo>
                    <a:pt x="2981" y="2851"/>
                    <a:pt x="2974" y="2857"/>
                    <a:pt x="2974" y="2857"/>
                  </a:cubicBezTo>
                  <a:cubicBezTo>
                    <a:pt x="2977" y="2903"/>
                    <a:pt x="2977" y="2903"/>
                    <a:pt x="2977" y="2903"/>
                  </a:cubicBezTo>
                  <a:cubicBezTo>
                    <a:pt x="2982" y="2942"/>
                    <a:pt x="2982" y="2942"/>
                    <a:pt x="2982" y="2942"/>
                  </a:cubicBezTo>
                  <a:cubicBezTo>
                    <a:pt x="2987" y="2940"/>
                    <a:pt x="2987" y="2940"/>
                    <a:pt x="2987" y="2940"/>
                  </a:cubicBezTo>
                  <a:cubicBezTo>
                    <a:pt x="2990" y="2965"/>
                    <a:pt x="2990" y="2965"/>
                    <a:pt x="2990" y="2965"/>
                  </a:cubicBezTo>
                  <a:cubicBezTo>
                    <a:pt x="2990" y="2965"/>
                    <a:pt x="3006" y="2951"/>
                    <a:pt x="2998" y="2940"/>
                  </a:cubicBezTo>
                  <a:cubicBezTo>
                    <a:pt x="2990" y="2929"/>
                    <a:pt x="2995" y="2893"/>
                    <a:pt x="2995" y="2893"/>
                  </a:cubicBezTo>
                  <a:cubicBezTo>
                    <a:pt x="2995" y="2893"/>
                    <a:pt x="3006" y="2890"/>
                    <a:pt x="3004" y="2882"/>
                  </a:cubicBezTo>
                  <a:cubicBezTo>
                    <a:pt x="3003" y="2875"/>
                    <a:pt x="3003" y="2853"/>
                    <a:pt x="3003" y="2848"/>
                  </a:cubicBezTo>
                  <a:close/>
                  <a:moveTo>
                    <a:pt x="1854" y="2638"/>
                  </a:moveTo>
                  <a:cubicBezTo>
                    <a:pt x="1846" y="2622"/>
                    <a:pt x="1846" y="2622"/>
                    <a:pt x="1846" y="2622"/>
                  </a:cubicBezTo>
                  <a:cubicBezTo>
                    <a:pt x="1834" y="2646"/>
                    <a:pt x="1834" y="2646"/>
                    <a:pt x="1834" y="2646"/>
                  </a:cubicBezTo>
                  <a:lnTo>
                    <a:pt x="1854" y="2638"/>
                  </a:lnTo>
                  <a:close/>
                  <a:moveTo>
                    <a:pt x="2921" y="2118"/>
                  </a:moveTo>
                  <a:cubicBezTo>
                    <a:pt x="2929" y="2113"/>
                    <a:pt x="2929" y="2113"/>
                    <a:pt x="2929" y="2113"/>
                  </a:cubicBezTo>
                  <a:cubicBezTo>
                    <a:pt x="2919" y="2094"/>
                    <a:pt x="2919" y="2094"/>
                    <a:pt x="2919" y="2094"/>
                  </a:cubicBezTo>
                  <a:cubicBezTo>
                    <a:pt x="2907" y="2094"/>
                    <a:pt x="2907" y="2094"/>
                    <a:pt x="2907" y="2094"/>
                  </a:cubicBezTo>
                  <a:cubicBezTo>
                    <a:pt x="2908" y="2110"/>
                    <a:pt x="2908" y="2110"/>
                    <a:pt x="2908" y="2110"/>
                  </a:cubicBezTo>
                  <a:cubicBezTo>
                    <a:pt x="2908" y="2110"/>
                    <a:pt x="2896" y="2121"/>
                    <a:pt x="2904" y="2127"/>
                  </a:cubicBezTo>
                  <a:cubicBezTo>
                    <a:pt x="2912" y="2133"/>
                    <a:pt x="2919" y="2154"/>
                    <a:pt x="2919" y="2154"/>
                  </a:cubicBezTo>
                  <a:cubicBezTo>
                    <a:pt x="2919" y="2154"/>
                    <a:pt x="2902" y="2185"/>
                    <a:pt x="2915" y="2190"/>
                  </a:cubicBezTo>
                  <a:cubicBezTo>
                    <a:pt x="2927" y="2195"/>
                    <a:pt x="2943" y="2199"/>
                    <a:pt x="2943" y="2199"/>
                  </a:cubicBezTo>
                  <a:cubicBezTo>
                    <a:pt x="2937" y="2149"/>
                    <a:pt x="2937" y="2149"/>
                    <a:pt x="2937" y="2149"/>
                  </a:cubicBezTo>
                  <a:lnTo>
                    <a:pt x="2921" y="2118"/>
                  </a:lnTo>
                  <a:close/>
                  <a:moveTo>
                    <a:pt x="881" y="1372"/>
                  </a:moveTo>
                  <a:cubicBezTo>
                    <a:pt x="899" y="1360"/>
                    <a:pt x="876" y="1350"/>
                    <a:pt x="862" y="1352"/>
                  </a:cubicBezTo>
                  <a:cubicBezTo>
                    <a:pt x="862" y="1352"/>
                    <a:pt x="863" y="1384"/>
                    <a:pt x="881" y="1372"/>
                  </a:cubicBezTo>
                  <a:close/>
                  <a:moveTo>
                    <a:pt x="2476" y="1287"/>
                  </a:moveTo>
                  <a:cubicBezTo>
                    <a:pt x="2474" y="1330"/>
                    <a:pt x="2474" y="1330"/>
                    <a:pt x="2474" y="1330"/>
                  </a:cubicBezTo>
                  <a:cubicBezTo>
                    <a:pt x="2504" y="1355"/>
                    <a:pt x="2504" y="1355"/>
                    <a:pt x="2504" y="1355"/>
                  </a:cubicBezTo>
                  <a:cubicBezTo>
                    <a:pt x="2504" y="1355"/>
                    <a:pt x="2518" y="1308"/>
                    <a:pt x="2506" y="1297"/>
                  </a:cubicBezTo>
                  <a:cubicBezTo>
                    <a:pt x="2493" y="1286"/>
                    <a:pt x="2476" y="1287"/>
                    <a:pt x="2476" y="1287"/>
                  </a:cubicBezTo>
                  <a:close/>
                  <a:moveTo>
                    <a:pt x="94" y="1439"/>
                  </a:moveTo>
                  <a:cubicBezTo>
                    <a:pt x="94" y="1439"/>
                    <a:pt x="66" y="1436"/>
                    <a:pt x="58" y="1438"/>
                  </a:cubicBezTo>
                  <a:cubicBezTo>
                    <a:pt x="51" y="1439"/>
                    <a:pt x="47" y="1474"/>
                    <a:pt x="47" y="1474"/>
                  </a:cubicBezTo>
                  <a:cubicBezTo>
                    <a:pt x="47" y="1474"/>
                    <a:pt x="68" y="1475"/>
                    <a:pt x="83" y="1475"/>
                  </a:cubicBezTo>
                  <a:cubicBezTo>
                    <a:pt x="99" y="1475"/>
                    <a:pt x="94" y="1439"/>
                    <a:pt x="94" y="1439"/>
                  </a:cubicBezTo>
                  <a:close/>
                  <a:moveTo>
                    <a:pt x="3026" y="3001"/>
                  </a:moveTo>
                  <a:cubicBezTo>
                    <a:pt x="3026" y="3001"/>
                    <a:pt x="3010" y="3019"/>
                    <a:pt x="3020" y="3025"/>
                  </a:cubicBezTo>
                  <a:cubicBezTo>
                    <a:pt x="3029" y="3031"/>
                    <a:pt x="3039" y="3031"/>
                    <a:pt x="3039" y="3031"/>
                  </a:cubicBezTo>
                  <a:cubicBezTo>
                    <a:pt x="3039" y="3031"/>
                    <a:pt x="3032" y="3001"/>
                    <a:pt x="3026" y="3001"/>
                  </a:cubicBezTo>
                  <a:close/>
                  <a:moveTo>
                    <a:pt x="2945" y="3000"/>
                  </a:moveTo>
                  <a:cubicBezTo>
                    <a:pt x="2945" y="3006"/>
                    <a:pt x="2960" y="3053"/>
                    <a:pt x="2960" y="3053"/>
                  </a:cubicBezTo>
                  <a:cubicBezTo>
                    <a:pt x="2954" y="3080"/>
                    <a:pt x="2954" y="3080"/>
                    <a:pt x="2954" y="3080"/>
                  </a:cubicBezTo>
                  <a:cubicBezTo>
                    <a:pt x="2970" y="3092"/>
                    <a:pt x="2970" y="3092"/>
                    <a:pt x="2970" y="3092"/>
                  </a:cubicBezTo>
                  <a:cubicBezTo>
                    <a:pt x="2973" y="3044"/>
                    <a:pt x="2973" y="3044"/>
                    <a:pt x="2973" y="3044"/>
                  </a:cubicBezTo>
                  <a:cubicBezTo>
                    <a:pt x="2973" y="3044"/>
                    <a:pt x="2966" y="3014"/>
                    <a:pt x="2973" y="3011"/>
                  </a:cubicBezTo>
                  <a:cubicBezTo>
                    <a:pt x="2979" y="3008"/>
                    <a:pt x="2971" y="2994"/>
                    <a:pt x="2971" y="2994"/>
                  </a:cubicBezTo>
                  <a:lnTo>
                    <a:pt x="2945" y="3000"/>
                  </a:lnTo>
                  <a:close/>
                  <a:moveTo>
                    <a:pt x="3032" y="2528"/>
                  </a:moveTo>
                  <a:cubicBezTo>
                    <a:pt x="3032" y="2528"/>
                    <a:pt x="3023" y="2566"/>
                    <a:pt x="3039" y="2567"/>
                  </a:cubicBezTo>
                  <a:cubicBezTo>
                    <a:pt x="3054" y="2569"/>
                    <a:pt x="3042" y="2527"/>
                    <a:pt x="3032" y="2528"/>
                  </a:cubicBezTo>
                  <a:close/>
                  <a:moveTo>
                    <a:pt x="2901" y="2008"/>
                  </a:moveTo>
                  <a:cubicBezTo>
                    <a:pt x="2901" y="2008"/>
                    <a:pt x="2903" y="1983"/>
                    <a:pt x="2905" y="1982"/>
                  </a:cubicBezTo>
                  <a:cubicBezTo>
                    <a:pt x="2907" y="1982"/>
                    <a:pt x="2875" y="1921"/>
                    <a:pt x="2875" y="1921"/>
                  </a:cubicBezTo>
                  <a:cubicBezTo>
                    <a:pt x="2875" y="1921"/>
                    <a:pt x="2864" y="1908"/>
                    <a:pt x="2857" y="1904"/>
                  </a:cubicBezTo>
                  <a:cubicBezTo>
                    <a:pt x="2851" y="1900"/>
                    <a:pt x="2834" y="1881"/>
                    <a:pt x="2828" y="1866"/>
                  </a:cubicBezTo>
                  <a:cubicBezTo>
                    <a:pt x="2822" y="1852"/>
                    <a:pt x="2829" y="1808"/>
                    <a:pt x="2829" y="1808"/>
                  </a:cubicBezTo>
                  <a:cubicBezTo>
                    <a:pt x="2829" y="1808"/>
                    <a:pt x="2849" y="1802"/>
                    <a:pt x="2855" y="1792"/>
                  </a:cubicBezTo>
                  <a:cubicBezTo>
                    <a:pt x="2860" y="1783"/>
                    <a:pt x="2818" y="1792"/>
                    <a:pt x="2818" y="1792"/>
                  </a:cubicBezTo>
                  <a:cubicBezTo>
                    <a:pt x="2818" y="1792"/>
                    <a:pt x="2817" y="1777"/>
                    <a:pt x="2819" y="1776"/>
                  </a:cubicBezTo>
                  <a:cubicBezTo>
                    <a:pt x="2816" y="1776"/>
                    <a:pt x="2799" y="1779"/>
                    <a:pt x="2799" y="1779"/>
                  </a:cubicBezTo>
                  <a:cubicBezTo>
                    <a:pt x="2771" y="1744"/>
                    <a:pt x="2771" y="1744"/>
                    <a:pt x="2771" y="1744"/>
                  </a:cubicBezTo>
                  <a:cubicBezTo>
                    <a:pt x="2771" y="1744"/>
                    <a:pt x="2768" y="1670"/>
                    <a:pt x="2769" y="1667"/>
                  </a:cubicBezTo>
                  <a:cubicBezTo>
                    <a:pt x="2769" y="1664"/>
                    <a:pt x="2787" y="1650"/>
                    <a:pt x="2792" y="1645"/>
                  </a:cubicBezTo>
                  <a:cubicBezTo>
                    <a:pt x="2797" y="1640"/>
                    <a:pt x="2789" y="1620"/>
                    <a:pt x="2785" y="1612"/>
                  </a:cubicBezTo>
                  <a:cubicBezTo>
                    <a:pt x="2782" y="1603"/>
                    <a:pt x="2735" y="1604"/>
                    <a:pt x="2723" y="1603"/>
                  </a:cubicBezTo>
                  <a:cubicBezTo>
                    <a:pt x="2710" y="1602"/>
                    <a:pt x="2709" y="1592"/>
                    <a:pt x="2698" y="1582"/>
                  </a:cubicBezTo>
                  <a:cubicBezTo>
                    <a:pt x="2687" y="1572"/>
                    <a:pt x="2671" y="1536"/>
                    <a:pt x="2671" y="1524"/>
                  </a:cubicBezTo>
                  <a:cubicBezTo>
                    <a:pt x="2670" y="1512"/>
                    <a:pt x="2658" y="1506"/>
                    <a:pt x="2658" y="1506"/>
                  </a:cubicBezTo>
                  <a:cubicBezTo>
                    <a:pt x="2663" y="1486"/>
                    <a:pt x="2663" y="1486"/>
                    <a:pt x="2663" y="1486"/>
                  </a:cubicBezTo>
                  <a:cubicBezTo>
                    <a:pt x="2682" y="1515"/>
                    <a:pt x="2682" y="1515"/>
                    <a:pt x="2682" y="1515"/>
                  </a:cubicBezTo>
                  <a:cubicBezTo>
                    <a:pt x="2682" y="1515"/>
                    <a:pt x="2695" y="1513"/>
                    <a:pt x="2705" y="1502"/>
                  </a:cubicBezTo>
                  <a:cubicBezTo>
                    <a:pt x="2715" y="1490"/>
                    <a:pt x="2664" y="1470"/>
                    <a:pt x="2655" y="1467"/>
                  </a:cubicBezTo>
                  <a:cubicBezTo>
                    <a:pt x="2647" y="1464"/>
                    <a:pt x="2645" y="1482"/>
                    <a:pt x="2634" y="1482"/>
                  </a:cubicBezTo>
                  <a:cubicBezTo>
                    <a:pt x="2623" y="1482"/>
                    <a:pt x="2584" y="1450"/>
                    <a:pt x="2584" y="1450"/>
                  </a:cubicBezTo>
                  <a:cubicBezTo>
                    <a:pt x="2573" y="1414"/>
                    <a:pt x="2573" y="1414"/>
                    <a:pt x="2573" y="1414"/>
                  </a:cubicBezTo>
                  <a:cubicBezTo>
                    <a:pt x="2573" y="1414"/>
                    <a:pt x="2536" y="1434"/>
                    <a:pt x="2535" y="1436"/>
                  </a:cubicBezTo>
                  <a:cubicBezTo>
                    <a:pt x="2533" y="1438"/>
                    <a:pt x="2548" y="1445"/>
                    <a:pt x="2553" y="1450"/>
                  </a:cubicBezTo>
                  <a:cubicBezTo>
                    <a:pt x="2557" y="1454"/>
                    <a:pt x="2535" y="1459"/>
                    <a:pt x="2518" y="1460"/>
                  </a:cubicBezTo>
                  <a:cubicBezTo>
                    <a:pt x="2501" y="1460"/>
                    <a:pt x="2467" y="1401"/>
                    <a:pt x="2464" y="1381"/>
                  </a:cubicBezTo>
                  <a:cubicBezTo>
                    <a:pt x="2461" y="1361"/>
                    <a:pt x="2438" y="1332"/>
                    <a:pt x="2438" y="1332"/>
                  </a:cubicBezTo>
                  <a:cubicBezTo>
                    <a:pt x="2425" y="1334"/>
                    <a:pt x="2425" y="1334"/>
                    <a:pt x="2425" y="1334"/>
                  </a:cubicBezTo>
                  <a:cubicBezTo>
                    <a:pt x="2425" y="1334"/>
                    <a:pt x="2407" y="1315"/>
                    <a:pt x="2398" y="1308"/>
                  </a:cubicBezTo>
                  <a:cubicBezTo>
                    <a:pt x="2389" y="1302"/>
                    <a:pt x="2397" y="1292"/>
                    <a:pt x="2397" y="1292"/>
                  </a:cubicBezTo>
                  <a:cubicBezTo>
                    <a:pt x="2397" y="1292"/>
                    <a:pt x="2392" y="1280"/>
                    <a:pt x="2392" y="1278"/>
                  </a:cubicBezTo>
                  <a:cubicBezTo>
                    <a:pt x="2392" y="1275"/>
                    <a:pt x="2407" y="1272"/>
                    <a:pt x="2407" y="1272"/>
                  </a:cubicBezTo>
                  <a:cubicBezTo>
                    <a:pt x="2400" y="1246"/>
                    <a:pt x="2400" y="1246"/>
                    <a:pt x="2400" y="1246"/>
                  </a:cubicBezTo>
                  <a:cubicBezTo>
                    <a:pt x="2400" y="1246"/>
                    <a:pt x="2425" y="1252"/>
                    <a:pt x="2441" y="1250"/>
                  </a:cubicBezTo>
                  <a:cubicBezTo>
                    <a:pt x="2457" y="1248"/>
                    <a:pt x="2418" y="1220"/>
                    <a:pt x="2418" y="1220"/>
                  </a:cubicBezTo>
                  <a:cubicBezTo>
                    <a:pt x="2412" y="1151"/>
                    <a:pt x="2412" y="1151"/>
                    <a:pt x="2412" y="1151"/>
                  </a:cubicBezTo>
                  <a:cubicBezTo>
                    <a:pt x="2412" y="1151"/>
                    <a:pt x="2454" y="1186"/>
                    <a:pt x="2463" y="1184"/>
                  </a:cubicBezTo>
                  <a:cubicBezTo>
                    <a:pt x="2471" y="1182"/>
                    <a:pt x="2439" y="1132"/>
                    <a:pt x="2439" y="1132"/>
                  </a:cubicBezTo>
                  <a:cubicBezTo>
                    <a:pt x="2442" y="1098"/>
                    <a:pt x="2442" y="1098"/>
                    <a:pt x="2442" y="1098"/>
                  </a:cubicBezTo>
                  <a:cubicBezTo>
                    <a:pt x="2442" y="1091"/>
                    <a:pt x="2481" y="1021"/>
                    <a:pt x="2489" y="1015"/>
                  </a:cubicBezTo>
                  <a:cubicBezTo>
                    <a:pt x="2497" y="1009"/>
                    <a:pt x="2533" y="1015"/>
                    <a:pt x="2544" y="1009"/>
                  </a:cubicBezTo>
                  <a:cubicBezTo>
                    <a:pt x="2555" y="1003"/>
                    <a:pt x="2515" y="974"/>
                    <a:pt x="2503" y="966"/>
                  </a:cubicBezTo>
                  <a:cubicBezTo>
                    <a:pt x="2491" y="958"/>
                    <a:pt x="2498" y="911"/>
                    <a:pt x="2497" y="900"/>
                  </a:cubicBezTo>
                  <a:cubicBezTo>
                    <a:pt x="2497" y="889"/>
                    <a:pt x="2476" y="874"/>
                    <a:pt x="2476" y="873"/>
                  </a:cubicBezTo>
                  <a:cubicBezTo>
                    <a:pt x="2476" y="872"/>
                    <a:pt x="2478" y="857"/>
                    <a:pt x="2478" y="857"/>
                  </a:cubicBezTo>
                  <a:cubicBezTo>
                    <a:pt x="2462" y="841"/>
                    <a:pt x="2462" y="841"/>
                    <a:pt x="2462" y="841"/>
                  </a:cubicBezTo>
                  <a:cubicBezTo>
                    <a:pt x="2472" y="824"/>
                    <a:pt x="2472" y="824"/>
                    <a:pt x="2472" y="824"/>
                  </a:cubicBezTo>
                  <a:cubicBezTo>
                    <a:pt x="2451" y="799"/>
                    <a:pt x="2451" y="799"/>
                    <a:pt x="2451" y="799"/>
                  </a:cubicBezTo>
                  <a:cubicBezTo>
                    <a:pt x="2458" y="786"/>
                    <a:pt x="2458" y="786"/>
                    <a:pt x="2458" y="786"/>
                  </a:cubicBezTo>
                  <a:cubicBezTo>
                    <a:pt x="2446" y="772"/>
                    <a:pt x="2446" y="772"/>
                    <a:pt x="2446" y="772"/>
                  </a:cubicBezTo>
                  <a:cubicBezTo>
                    <a:pt x="2449" y="751"/>
                    <a:pt x="2449" y="751"/>
                    <a:pt x="2449" y="751"/>
                  </a:cubicBezTo>
                  <a:cubicBezTo>
                    <a:pt x="2425" y="623"/>
                    <a:pt x="2425" y="623"/>
                    <a:pt x="2425" y="623"/>
                  </a:cubicBezTo>
                  <a:cubicBezTo>
                    <a:pt x="2425" y="623"/>
                    <a:pt x="2404" y="622"/>
                    <a:pt x="2400" y="616"/>
                  </a:cubicBezTo>
                  <a:cubicBezTo>
                    <a:pt x="2396" y="611"/>
                    <a:pt x="2428" y="602"/>
                    <a:pt x="2428" y="602"/>
                  </a:cubicBezTo>
                  <a:cubicBezTo>
                    <a:pt x="2478" y="544"/>
                    <a:pt x="2478" y="544"/>
                    <a:pt x="2478" y="544"/>
                  </a:cubicBezTo>
                  <a:cubicBezTo>
                    <a:pt x="2443" y="504"/>
                    <a:pt x="2443" y="504"/>
                    <a:pt x="2443" y="504"/>
                  </a:cubicBezTo>
                  <a:cubicBezTo>
                    <a:pt x="2432" y="512"/>
                    <a:pt x="2432" y="512"/>
                    <a:pt x="2432" y="512"/>
                  </a:cubicBezTo>
                  <a:cubicBezTo>
                    <a:pt x="2412" y="501"/>
                    <a:pt x="2412" y="501"/>
                    <a:pt x="2412" y="501"/>
                  </a:cubicBezTo>
                  <a:cubicBezTo>
                    <a:pt x="2412" y="501"/>
                    <a:pt x="2383" y="523"/>
                    <a:pt x="2362" y="526"/>
                  </a:cubicBezTo>
                  <a:cubicBezTo>
                    <a:pt x="2341" y="529"/>
                    <a:pt x="2329" y="509"/>
                    <a:pt x="2329" y="509"/>
                  </a:cubicBezTo>
                  <a:cubicBezTo>
                    <a:pt x="2312" y="517"/>
                    <a:pt x="2312" y="517"/>
                    <a:pt x="2312" y="517"/>
                  </a:cubicBezTo>
                  <a:cubicBezTo>
                    <a:pt x="2284" y="507"/>
                    <a:pt x="2284" y="507"/>
                    <a:pt x="2284" y="507"/>
                  </a:cubicBezTo>
                  <a:cubicBezTo>
                    <a:pt x="2284" y="507"/>
                    <a:pt x="2286" y="524"/>
                    <a:pt x="2283" y="537"/>
                  </a:cubicBezTo>
                  <a:cubicBezTo>
                    <a:pt x="2281" y="550"/>
                    <a:pt x="2240" y="546"/>
                    <a:pt x="2240" y="548"/>
                  </a:cubicBezTo>
                  <a:cubicBezTo>
                    <a:pt x="2240" y="549"/>
                    <a:pt x="2224" y="579"/>
                    <a:pt x="2211" y="583"/>
                  </a:cubicBezTo>
                  <a:cubicBezTo>
                    <a:pt x="2198" y="587"/>
                    <a:pt x="2219" y="549"/>
                    <a:pt x="2219" y="549"/>
                  </a:cubicBezTo>
                  <a:cubicBezTo>
                    <a:pt x="2219" y="549"/>
                    <a:pt x="2195" y="563"/>
                    <a:pt x="2189" y="562"/>
                  </a:cubicBezTo>
                  <a:cubicBezTo>
                    <a:pt x="2182" y="561"/>
                    <a:pt x="2196" y="548"/>
                    <a:pt x="2207" y="538"/>
                  </a:cubicBezTo>
                  <a:cubicBezTo>
                    <a:pt x="2218" y="528"/>
                    <a:pt x="2224" y="533"/>
                    <a:pt x="2244" y="519"/>
                  </a:cubicBezTo>
                  <a:cubicBezTo>
                    <a:pt x="2264" y="504"/>
                    <a:pt x="2249" y="492"/>
                    <a:pt x="2253" y="482"/>
                  </a:cubicBezTo>
                  <a:cubicBezTo>
                    <a:pt x="2258" y="473"/>
                    <a:pt x="2249" y="449"/>
                    <a:pt x="2248" y="444"/>
                  </a:cubicBezTo>
                  <a:cubicBezTo>
                    <a:pt x="2248" y="439"/>
                    <a:pt x="2234" y="434"/>
                    <a:pt x="2232" y="433"/>
                  </a:cubicBezTo>
                  <a:cubicBezTo>
                    <a:pt x="2230" y="431"/>
                    <a:pt x="2227" y="408"/>
                    <a:pt x="2227" y="408"/>
                  </a:cubicBezTo>
                  <a:cubicBezTo>
                    <a:pt x="2190" y="381"/>
                    <a:pt x="2190" y="381"/>
                    <a:pt x="2190" y="381"/>
                  </a:cubicBezTo>
                  <a:cubicBezTo>
                    <a:pt x="2190" y="381"/>
                    <a:pt x="2181" y="391"/>
                    <a:pt x="2161" y="394"/>
                  </a:cubicBezTo>
                  <a:cubicBezTo>
                    <a:pt x="2141" y="397"/>
                    <a:pt x="2135" y="386"/>
                    <a:pt x="2135" y="386"/>
                  </a:cubicBezTo>
                  <a:cubicBezTo>
                    <a:pt x="2135" y="386"/>
                    <a:pt x="2139" y="375"/>
                    <a:pt x="2140" y="373"/>
                  </a:cubicBezTo>
                  <a:cubicBezTo>
                    <a:pt x="2141" y="371"/>
                    <a:pt x="2126" y="366"/>
                    <a:pt x="2126" y="366"/>
                  </a:cubicBezTo>
                  <a:cubicBezTo>
                    <a:pt x="2126" y="366"/>
                    <a:pt x="2129" y="360"/>
                    <a:pt x="2136" y="355"/>
                  </a:cubicBezTo>
                  <a:cubicBezTo>
                    <a:pt x="2143" y="350"/>
                    <a:pt x="2125" y="335"/>
                    <a:pt x="2129" y="336"/>
                  </a:cubicBezTo>
                  <a:cubicBezTo>
                    <a:pt x="2134" y="336"/>
                    <a:pt x="2154" y="355"/>
                    <a:pt x="2166" y="359"/>
                  </a:cubicBezTo>
                  <a:cubicBezTo>
                    <a:pt x="2179" y="363"/>
                    <a:pt x="2185" y="344"/>
                    <a:pt x="2185" y="344"/>
                  </a:cubicBezTo>
                  <a:cubicBezTo>
                    <a:pt x="2185" y="344"/>
                    <a:pt x="2199" y="355"/>
                    <a:pt x="2207" y="356"/>
                  </a:cubicBezTo>
                  <a:cubicBezTo>
                    <a:pt x="2215" y="357"/>
                    <a:pt x="2220" y="323"/>
                    <a:pt x="2221" y="313"/>
                  </a:cubicBezTo>
                  <a:cubicBezTo>
                    <a:pt x="2223" y="303"/>
                    <a:pt x="2210" y="298"/>
                    <a:pt x="2210" y="298"/>
                  </a:cubicBezTo>
                  <a:cubicBezTo>
                    <a:pt x="2242" y="258"/>
                    <a:pt x="2242" y="258"/>
                    <a:pt x="2242" y="258"/>
                  </a:cubicBezTo>
                  <a:cubicBezTo>
                    <a:pt x="2242" y="258"/>
                    <a:pt x="2283" y="261"/>
                    <a:pt x="2302" y="256"/>
                  </a:cubicBezTo>
                  <a:cubicBezTo>
                    <a:pt x="2322" y="250"/>
                    <a:pt x="2310" y="228"/>
                    <a:pt x="2310" y="228"/>
                  </a:cubicBezTo>
                  <a:cubicBezTo>
                    <a:pt x="2334" y="204"/>
                    <a:pt x="2334" y="204"/>
                    <a:pt x="2334" y="204"/>
                  </a:cubicBezTo>
                  <a:cubicBezTo>
                    <a:pt x="2334" y="204"/>
                    <a:pt x="2355" y="195"/>
                    <a:pt x="2363" y="187"/>
                  </a:cubicBezTo>
                  <a:cubicBezTo>
                    <a:pt x="2372" y="179"/>
                    <a:pt x="2348" y="172"/>
                    <a:pt x="2348" y="172"/>
                  </a:cubicBezTo>
                  <a:cubicBezTo>
                    <a:pt x="2348" y="172"/>
                    <a:pt x="2355" y="166"/>
                    <a:pt x="2364" y="157"/>
                  </a:cubicBezTo>
                  <a:cubicBezTo>
                    <a:pt x="2372" y="149"/>
                    <a:pt x="2371" y="128"/>
                    <a:pt x="2368" y="127"/>
                  </a:cubicBezTo>
                  <a:cubicBezTo>
                    <a:pt x="2364" y="126"/>
                    <a:pt x="2339" y="152"/>
                    <a:pt x="2325" y="148"/>
                  </a:cubicBezTo>
                  <a:cubicBezTo>
                    <a:pt x="2312" y="144"/>
                    <a:pt x="2320" y="114"/>
                    <a:pt x="2315" y="112"/>
                  </a:cubicBezTo>
                  <a:cubicBezTo>
                    <a:pt x="2310" y="110"/>
                    <a:pt x="2300" y="122"/>
                    <a:pt x="2293" y="122"/>
                  </a:cubicBezTo>
                  <a:cubicBezTo>
                    <a:pt x="2286" y="122"/>
                    <a:pt x="2276" y="105"/>
                    <a:pt x="2276" y="105"/>
                  </a:cubicBezTo>
                  <a:cubicBezTo>
                    <a:pt x="2276" y="105"/>
                    <a:pt x="2253" y="122"/>
                    <a:pt x="2250" y="122"/>
                  </a:cubicBezTo>
                  <a:cubicBezTo>
                    <a:pt x="2247" y="122"/>
                    <a:pt x="2259" y="103"/>
                    <a:pt x="2267" y="96"/>
                  </a:cubicBezTo>
                  <a:cubicBezTo>
                    <a:pt x="2274" y="89"/>
                    <a:pt x="2269" y="64"/>
                    <a:pt x="2269" y="64"/>
                  </a:cubicBezTo>
                  <a:cubicBezTo>
                    <a:pt x="2242" y="69"/>
                    <a:pt x="2242" y="69"/>
                    <a:pt x="2242" y="69"/>
                  </a:cubicBezTo>
                  <a:cubicBezTo>
                    <a:pt x="2242" y="69"/>
                    <a:pt x="2264" y="41"/>
                    <a:pt x="2264" y="37"/>
                  </a:cubicBezTo>
                  <a:cubicBezTo>
                    <a:pt x="2264" y="34"/>
                    <a:pt x="2246" y="36"/>
                    <a:pt x="2239" y="35"/>
                  </a:cubicBezTo>
                  <a:cubicBezTo>
                    <a:pt x="2232" y="34"/>
                    <a:pt x="2224" y="0"/>
                    <a:pt x="2224" y="0"/>
                  </a:cubicBezTo>
                  <a:cubicBezTo>
                    <a:pt x="2160" y="56"/>
                    <a:pt x="2160" y="56"/>
                    <a:pt x="2160" y="56"/>
                  </a:cubicBezTo>
                  <a:cubicBezTo>
                    <a:pt x="2160" y="56"/>
                    <a:pt x="2140" y="59"/>
                    <a:pt x="2134" y="62"/>
                  </a:cubicBezTo>
                  <a:cubicBezTo>
                    <a:pt x="2128" y="65"/>
                    <a:pt x="2113" y="96"/>
                    <a:pt x="2113" y="96"/>
                  </a:cubicBezTo>
                  <a:cubicBezTo>
                    <a:pt x="2113" y="96"/>
                    <a:pt x="2127" y="110"/>
                    <a:pt x="2127" y="118"/>
                  </a:cubicBezTo>
                  <a:cubicBezTo>
                    <a:pt x="2127" y="125"/>
                    <a:pt x="2099" y="131"/>
                    <a:pt x="2099" y="131"/>
                  </a:cubicBezTo>
                  <a:cubicBezTo>
                    <a:pt x="2099" y="131"/>
                    <a:pt x="2094" y="159"/>
                    <a:pt x="2094" y="160"/>
                  </a:cubicBezTo>
                  <a:cubicBezTo>
                    <a:pt x="2094" y="161"/>
                    <a:pt x="2127" y="151"/>
                    <a:pt x="2138" y="151"/>
                  </a:cubicBezTo>
                  <a:cubicBezTo>
                    <a:pt x="2149" y="151"/>
                    <a:pt x="2174" y="159"/>
                    <a:pt x="2170" y="170"/>
                  </a:cubicBezTo>
                  <a:cubicBezTo>
                    <a:pt x="2167" y="182"/>
                    <a:pt x="2135" y="186"/>
                    <a:pt x="2132" y="188"/>
                  </a:cubicBezTo>
                  <a:cubicBezTo>
                    <a:pt x="2129" y="190"/>
                    <a:pt x="2126" y="182"/>
                    <a:pt x="2126" y="182"/>
                  </a:cubicBezTo>
                  <a:cubicBezTo>
                    <a:pt x="2089" y="184"/>
                    <a:pt x="2089" y="184"/>
                    <a:pt x="2089" y="184"/>
                  </a:cubicBezTo>
                  <a:cubicBezTo>
                    <a:pt x="2063" y="172"/>
                    <a:pt x="2063" y="172"/>
                    <a:pt x="2063" y="172"/>
                  </a:cubicBezTo>
                  <a:cubicBezTo>
                    <a:pt x="2057" y="189"/>
                    <a:pt x="2057" y="189"/>
                    <a:pt x="2057" y="189"/>
                  </a:cubicBezTo>
                  <a:cubicBezTo>
                    <a:pt x="2026" y="186"/>
                    <a:pt x="2026" y="186"/>
                    <a:pt x="2026" y="186"/>
                  </a:cubicBezTo>
                  <a:cubicBezTo>
                    <a:pt x="1935" y="262"/>
                    <a:pt x="1935" y="262"/>
                    <a:pt x="1935" y="262"/>
                  </a:cubicBezTo>
                  <a:cubicBezTo>
                    <a:pt x="1924" y="280"/>
                    <a:pt x="1924" y="280"/>
                    <a:pt x="1924" y="280"/>
                  </a:cubicBezTo>
                  <a:cubicBezTo>
                    <a:pt x="1924" y="280"/>
                    <a:pt x="1915" y="276"/>
                    <a:pt x="1910" y="276"/>
                  </a:cubicBezTo>
                  <a:cubicBezTo>
                    <a:pt x="1905" y="275"/>
                    <a:pt x="1888" y="295"/>
                    <a:pt x="1888" y="295"/>
                  </a:cubicBezTo>
                  <a:cubicBezTo>
                    <a:pt x="1875" y="296"/>
                    <a:pt x="1875" y="296"/>
                    <a:pt x="1875" y="296"/>
                  </a:cubicBezTo>
                  <a:cubicBezTo>
                    <a:pt x="1875" y="296"/>
                    <a:pt x="1861" y="321"/>
                    <a:pt x="1861" y="322"/>
                  </a:cubicBezTo>
                  <a:cubicBezTo>
                    <a:pt x="1861" y="324"/>
                    <a:pt x="1839" y="322"/>
                    <a:pt x="1832" y="324"/>
                  </a:cubicBezTo>
                  <a:cubicBezTo>
                    <a:pt x="1826" y="326"/>
                    <a:pt x="1777" y="384"/>
                    <a:pt x="1763" y="400"/>
                  </a:cubicBezTo>
                  <a:cubicBezTo>
                    <a:pt x="1749" y="416"/>
                    <a:pt x="1746" y="408"/>
                    <a:pt x="1732" y="417"/>
                  </a:cubicBezTo>
                  <a:cubicBezTo>
                    <a:pt x="1718" y="426"/>
                    <a:pt x="1727" y="438"/>
                    <a:pt x="1724" y="451"/>
                  </a:cubicBezTo>
                  <a:cubicBezTo>
                    <a:pt x="1721" y="465"/>
                    <a:pt x="1699" y="501"/>
                    <a:pt x="1699" y="501"/>
                  </a:cubicBezTo>
                  <a:cubicBezTo>
                    <a:pt x="1711" y="510"/>
                    <a:pt x="1711" y="510"/>
                    <a:pt x="1711" y="510"/>
                  </a:cubicBezTo>
                  <a:cubicBezTo>
                    <a:pt x="1687" y="519"/>
                    <a:pt x="1687" y="519"/>
                    <a:pt x="1687" y="519"/>
                  </a:cubicBezTo>
                  <a:cubicBezTo>
                    <a:pt x="1687" y="519"/>
                    <a:pt x="1640" y="578"/>
                    <a:pt x="1642" y="580"/>
                  </a:cubicBezTo>
                  <a:cubicBezTo>
                    <a:pt x="1643" y="581"/>
                    <a:pt x="1675" y="613"/>
                    <a:pt x="1675" y="613"/>
                  </a:cubicBezTo>
                  <a:cubicBezTo>
                    <a:pt x="1675" y="613"/>
                    <a:pt x="1703" y="602"/>
                    <a:pt x="1720" y="602"/>
                  </a:cubicBezTo>
                  <a:cubicBezTo>
                    <a:pt x="1736" y="601"/>
                    <a:pt x="1768" y="634"/>
                    <a:pt x="1770" y="636"/>
                  </a:cubicBezTo>
                  <a:cubicBezTo>
                    <a:pt x="1772" y="639"/>
                    <a:pt x="1753" y="666"/>
                    <a:pt x="1747" y="673"/>
                  </a:cubicBezTo>
                  <a:cubicBezTo>
                    <a:pt x="1740" y="680"/>
                    <a:pt x="1714" y="668"/>
                    <a:pt x="1714" y="668"/>
                  </a:cubicBezTo>
                  <a:cubicBezTo>
                    <a:pt x="1714" y="668"/>
                    <a:pt x="1691" y="689"/>
                    <a:pt x="1682" y="692"/>
                  </a:cubicBezTo>
                  <a:cubicBezTo>
                    <a:pt x="1674" y="695"/>
                    <a:pt x="1630" y="684"/>
                    <a:pt x="1630" y="684"/>
                  </a:cubicBezTo>
                  <a:cubicBezTo>
                    <a:pt x="1630" y="684"/>
                    <a:pt x="1638" y="713"/>
                    <a:pt x="1639" y="725"/>
                  </a:cubicBezTo>
                  <a:cubicBezTo>
                    <a:pt x="1640" y="736"/>
                    <a:pt x="1621" y="749"/>
                    <a:pt x="1611" y="759"/>
                  </a:cubicBezTo>
                  <a:cubicBezTo>
                    <a:pt x="1600" y="769"/>
                    <a:pt x="1601" y="774"/>
                    <a:pt x="1598" y="784"/>
                  </a:cubicBezTo>
                  <a:cubicBezTo>
                    <a:pt x="1596" y="794"/>
                    <a:pt x="1583" y="793"/>
                    <a:pt x="1574" y="801"/>
                  </a:cubicBezTo>
                  <a:cubicBezTo>
                    <a:pt x="1565" y="808"/>
                    <a:pt x="1555" y="849"/>
                    <a:pt x="1555" y="851"/>
                  </a:cubicBezTo>
                  <a:cubicBezTo>
                    <a:pt x="1555" y="853"/>
                    <a:pt x="1539" y="877"/>
                    <a:pt x="1539" y="877"/>
                  </a:cubicBezTo>
                  <a:cubicBezTo>
                    <a:pt x="1556" y="889"/>
                    <a:pt x="1556" y="889"/>
                    <a:pt x="1556" y="889"/>
                  </a:cubicBezTo>
                  <a:cubicBezTo>
                    <a:pt x="1556" y="889"/>
                    <a:pt x="1534" y="894"/>
                    <a:pt x="1532" y="894"/>
                  </a:cubicBezTo>
                  <a:cubicBezTo>
                    <a:pt x="1531" y="894"/>
                    <a:pt x="1496" y="922"/>
                    <a:pt x="1487" y="925"/>
                  </a:cubicBezTo>
                  <a:cubicBezTo>
                    <a:pt x="1478" y="928"/>
                    <a:pt x="1435" y="880"/>
                    <a:pt x="1420" y="878"/>
                  </a:cubicBezTo>
                  <a:cubicBezTo>
                    <a:pt x="1404" y="876"/>
                    <a:pt x="1385" y="880"/>
                    <a:pt x="1336" y="920"/>
                  </a:cubicBezTo>
                  <a:cubicBezTo>
                    <a:pt x="1288" y="960"/>
                    <a:pt x="1276" y="1037"/>
                    <a:pt x="1274" y="1050"/>
                  </a:cubicBezTo>
                  <a:cubicBezTo>
                    <a:pt x="1271" y="1064"/>
                    <a:pt x="1236" y="1069"/>
                    <a:pt x="1236" y="1069"/>
                  </a:cubicBezTo>
                  <a:cubicBezTo>
                    <a:pt x="1236" y="1069"/>
                    <a:pt x="1237" y="1060"/>
                    <a:pt x="1237" y="1058"/>
                  </a:cubicBezTo>
                  <a:cubicBezTo>
                    <a:pt x="1237" y="1057"/>
                    <a:pt x="1214" y="1053"/>
                    <a:pt x="1201" y="1051"/>
                  </a:cubicBezTo>
                  <a:cubicBezTo>
                    <a:pt x="1188" y="1050"/>
                    <a:pt x="1179" y="1096"/>
                    <a:pt x="1179" y="1096"/>
                  </a:cubicBezTo>
                  <a:cubicBezTo>
                    <a:pt x="1168" y="1069"/>
                    <a:pt x="1168" y="1069"/>
                    <a:pt x="1168" y="1069"/>
                  </a:cubicBezTo>
                  <a:cubicBezTo>
                    <a:pt x="1155" y="1087"/>
                    <a:pt x="1155" y="1087"/>
                    <a:pt x="1155" y="1087"/>
                  </a:cubicBezTo>
                  <a:cubicBezTo>
                    <a:pt x="1140" y="1074"/>
                    <a:pt x="1140" y="1074"/>
                    <a:pt x="1140" y="1074"/>
                  </a:cubicBezTo>
                  <a:cubicBezTo>
                    <a:pt x="1140" y="1074"/>
                    <a:pt x="1128" y="1094"/>
                    <a:pt x="1113" y="1087"/>
                  </a:cubicBezTo>
                  <a:cubicBezTo>
                    <a:pt x="1098" y="1080"/>
                    <a:pt x="1127" y="1057"/>
                    <a:pt x="1127" y="1051"/>
                  </a:cubicBezTo>
                  <a:cubicBezTo>
                    <a:pt x="1126" y="1045"/>
                    <a:pt x="1095" y="1040"/>
                    <a:pt x="1087" y="1042"/>
                  </a:cubicBezTo>
                  <a:cubicBezTo>
                    <a:pt x="1079" y="1044"/>
                    <a:pt x="1044" y="1079"/>
                    <a:pt x="1033" y="1094"/>
                  </a:cubicBezTo>
                  <a:cubicBezTo>
                    <a:pt x="1022" y="1110"/>
                    <a:pt x="1050" y="1160"/>
                    <a:pt x="1051" y="1164"/>
                  </a:cubicBezTo>
                  <a:cubicBezTo>
                    <a:pt x="1051" y="1169"/>
                    <a:pt x="1041" y="1185"/>
                    <a:pt x="1027" y="1183"/>
                  </a:cubicBezTo>
                  <a:cubicBezTo>
                    <a:pt x="1014" y="1181"/>
                    <a:pt x="1030" y="1151"/>
                    <a:pt x="1030" y="1151"/>
                  </a:cubicBezTo>
                  <a:cubicBezTo>
                    <a:pt x="1009" y="1129"/>
                    <a:pt x="1009" y="1129"/>
                    <a:pt x="1009" y="1129"/>
                  </a:cubicBezTo>
                  <a:cubicBezTo>
                    <a:pt x="1009" y="1129"/>
                    <a:pt x="994" y="1144"/>
                    <a:pt x="993" y="1146"/>
                  </a:cubicBezTo>
                  <a:cubicBezTo>
                    <a:pt x="993" y="1148"/>
                    <a:pt x="975" y="1160"/>
                    <a:pt x="975" y="1160"/>
                  </a:cubicBezTo>
                  <a:cubicBezTo>
                    <a:pt x="975" y="1131"/>
                    <a:pt x="975" y="1131"/>
                    <a:pt x="975" y="1131"/>
                  </a:cubicBezTo>
                  <a:cubicBezTo>
                    <a:pt x="975" y="1131"/>
                    <a:pt x="996" y="1123"/>
                    <a:pt x="1004" y="1118"/>
                  </a:cubicBezTo>
                  <a:cubicBezTo>
                    <a:pt x="1012" y="1112"/>
                    <a:pt x="1023" y="1099"/>
                    <a:pt x="1023" y="1099"/>
                  </a:cubicBezTo>
                  <a:cubicBezTo>
                    <a:pt x="1023" y="1099"/>
                    <a:pt x="1018" y="1098"/>
                    <a:pt x="1006" y="1100"/>
                  </a:cubicBezTo>
                  <a:cubicBezTo>
                    <a:pt x="994" y="1101"/>
                    <a:pt x="893" y="1169"/>
                    <a:pt x="893" y="1169"/>
                  </a:cubicBezTo>
                  <a:cubicBezTo>
                    <a:pt x="893" y="1169"/>
                    <a:pt x="888" y="1173"/>
                    <a:pt x="874" y="1171"/>
                  </a:cubicBezTo>
                  <a:cubicBezTo>
                    <a:pt x="861" y="1169"/>
                    <a:pt x="851" y="1185"/>
                    <a:pt x="851" y="1185"/>
                  </a:cubicBezTo>
                  <a:cubicBezTo>
                    <a:pt x="851" y="1185"/>
                    <a:pt x="873" y="1196"/>
                    <a:pt x="876" y="1208"/>
                  </a:cubicBezTo>
                  <a:cubicBezTo>
                    <a:pt x="880" y="1220"/>
                    <a:pt x="853" y="1234"/>
                    <a:pt x="847" y="1241"/>
                  </a:cubicBezTo>
                  <a:cubicBezTo>
                    <a:pt x="842" y="1249"/>
                    <a:pt x="862" y="1268"/>
                    <a:pt x="862" y="1268"/>
                  </a:cubicBezTo>
                  <a:cubicBezTo>
                    <a:pt x="884" y="1246"/>
                    <a:pt x="884" y="1246"/>
                    <a:pt x="884" y="1246"/>
                  </a:cubicBezTo>
                  <a:cubicBezTo>
                    <a:pt x="889" y="1278"/>
                    <a:pt x="889" y="1278"/>
                    <a:pt x="889" y="1278"/>
                  </a:cubicBezTo>
                  <a:cubicBezTo>
                    <a:pt x="928" y="1308"/>
                    <a:pt x="928" y="1308"/>
                    <a:pt x="928" y="1308"/>
                  </a:cubicBezTo>
                  <a:cubicBezTo>
                    <a:pt x="911" y="1326"/>
                    <a:pt x="911" y="1326"/>
                    <a:pt x="911" y="1326"/>
                  </a:cubicBezTo>
                  <a:cubicBezTo>
                    <a:pt x="891" y="1321"/>
                    <a:pt x="891" y="1321"/>
                    <a:pt x="891" y="1321"/>
                  </a:cubicBezTo>
                  <a:cubicBezTo>
                    <a:pt x="875" y="1342"/>
                    <a:pt x="875" y="1342"/>
                    <a:pt x="875" y="1342"/>
                  </a:cubicBezTo>
                  <a:cubicBezTo>
                    <a:pt x="875" y="1342"/>
                    <a:pt x="895" y="1354"/>
                    <a:pt x="899" y="1360"/>
                  </a:cubicBezTo>
                  <a:cubicBezTo>
                    <a:pt x="903" y="1366"/>
                    <a:pt x="895" y="1373"/>
                    <a:pt x="886" y="1380"/>
                  </a:cubicBezTo>
                  <a:cubicBezTo>
                    <a:pt x="877" y="1387"/>
                    <a:pt x="856" y="1377"/>
                    <a:pt x="856" y="1377"/>
                  </a:cubicBezTo>
                  <a:cubicBezTo>
                    <a:pt x="856" y="1377"/>
                    <a:pt x="848" y="1370"/>
                    <a:pt x="839" y="1369"/>
                  </a:cubicBezTo>
                  <a:cubicBezTo>
                    <a:pt x="830" y="1368"/>
                    <a:pt x="811" y="1379"/>
                    <a:pt x="803" y="1387"/>
                  </a:cubicBezTo>
                  <a:cubicBezTo>
                    <a:pt x="794" y="1395"/>
                    <a:pt x="802" y="1417"/>
                    <a:pt x="802" y="1424"/>
                  </a:cubicBezTo>
                  <a:cubicBezTo>
                    <a:pt x="802" y="1430"/>
                    <a:pt x="780" y="1436"/>
                    <a:pt x="767" y="1437"/>
                  </a:cubicBezTo>
                  <a:cubicBezTo>
                    <a:pt x="755" y="1438"/>
                    <a:pt x="718" y="1418"/>
                    <a:pt x="718" y="1418"/>
                  </a:cubicBezTo>
                  <a:cubicBezTo>
                    <a:pt x="718" y="1445"/>
                    <a:pt x="718" y="1445"/>
                    <a:pt x="718" y="1445"/>
                  </a:cubicBezTo>
                  <a:cubicBezTo>
                    <a:pt x="718" y="1445"/>
                    <a:pt x="740" y="1490"/>
                    <a:pt x="745" y="1514"/>
                  </a:cubicBezTo>
                  <a:cubicBezTo>
                    <a:pt x="749" y="1538"/>
                    <a:pt x="740" y="1543"/>
                    <a:pt x="740" y="1544"/>
                  </a:cubicBezTo>
                  <a:cubicBezTo>
                    <a:pt x="739" y="1546"/>
                    <a:pt x="719" y="1532"/>
                    <a:pt x="719" y="1532"/>
                  </a:cubicBezTo>
                  <a:cubicBezTo>
                    <a:pt x="709" y="1542"/>
                    <a:pt x="709" y="1542"/>
                    <a:pt x="709" y="1542"/>
                  </a:cubicBezTo>
                  <a:cubicBezTo>
                    <a:pt x="709" y="1542"/>
                    <a:pt x="700" y="1539"/>
                    <a:pt x="687" y="1535"/>
                  </a:cubicBezTo>
                  <a:cubicBezTo>
                    <a:pt x="673" y="1530"/>
                    <a:pt x="641" y="1504"/>
                    <a:pt x="630" y="1500"/>
                  </a:cubicBezTo>
                  <a:cubicBezTo>
                    <a:pt x="620" y="1496"/>
                    <a:pt x="584" y="1465"/>
                    <a:pt x="584" y="1465"/>
                  </a:cubicBezTo>
                  <a:cubicBezTo>
                    <a:pt x="584" y="1465"/>
                    <a:pt x="610" y="1460"/>
                    <a:pt x="615" y="1453"/>
                  </a:cubicBezTo>
                  <a:cubicBezTo>
                    <a:pt x="620" y="1445"/>
                    <a:pt x="613" y="1441"/>
                    <a:pt x="604" y="1432"/>
                  </a:cubicBezTo>
                  <a:cubicBezTo>
                    <a:pt x="595" y="1424"/>
                    <a:pt x="582" y="1439"/>
                    <a:pt x="572" y="1436"/>
                  </a:cubicBezTo>
                  <a:cubicBezTo>
                    <a:pt x="563" y="1434"/>
                    <a:pt x="582" y="1409"/>
                    <a:pt x="582" y="1409"/>
                  </a:cubicBezTo>
                  <a:cubicBezTo>
                    <a:pt x="572" y="1407"/>
                    <a:pt x="572" y="1407"/>
                    <a:pt x="572" y="1407"/>
                  </a:cubicBezTo>
                  <a:cubicBezTo>
                    <a:pt x="572" y="1396"/>
                    <a:pt x="572" y="1396"/>
                    <a:pt x="572" y="1396"/>
                  </a:cubicBezTo>
                  <a:cubicBezTo>
                    <a:pt x="572" y="1396"/>
                    <a:pt x="551" y="1397"/>
                    <a:pt x="553" y="1397"/>
                  </a:cubicBezTo>
                  <a:cubicBezTo>
                    <a:pt x="554" y="1397"/>
                    <a:pt x="556" y="1379"/>
                    <a:pt x="555" y="1372"/>
                  </a:cubicBezTo>
                  <a:cubicBezTo>
                    <a:pt x="554" y="1364"/>
                    <a:pt x="526" y="1370"/>
                    <a:pt x="526" y="1370"/>
                  </a:cubicBezTo>
                  <a:cubicBezTo>
                    <a:pt x="510" y="1353"/>
                    <a:pt x="510" y="1353"/>
                    <a:pt x="510" y="1353"/>
                  </a:cubicBezTo>
                  <a:cubicBezTo>
                    <a:pt x="510" y="1353"/>
                    <a:pt x="492" y="1358"/>
                    <a:pt x="484" y="1364"/>
                  </a:cubicBezTo>
                  <a:cubicBezTo>
                    <a:pt x="475" y="1371"/>
                    <a:pt x="476" y="1389"/>
                    <a:pt x="476" y="1389"/>
                  </a:cubicBezTo>
                  <a:cubicBezTo>
                    <a:pt x="460" y="1381"/>
                    <a:pt x="460" y="1381"/>
                    <a:pt x="460" y="1381"/>
                  </a:cubicBezTo>
                  <a:cubicBezTo>
                    <a:pt x="460" y="1381"/>
                    <a:pt x="452" y="1399"/>
                    <a:pt x="452" y="1396"/>
                  </a:cubicBezTo>
                  <a:cubicBezTo>
                    <a:pt x="451" y="1392"/>
                    <a:pt x="405" y="1379"/>
                    <a:pt x="405" y="1379"/>
                  </a:cubicBezTo>
                  <a:cubicBezTo>
                    <a:pt x="382" y="1410"/>
                    <a:pt x="382" y="1410"/>
                    <a:pt x="382" y="1410"/>
                  </a:cubicBezTo>
                  <a:cubicBezTo>
                    <a:pt x="382" y="1410"/>
                    <a:pt x="408" y="1445"/>
                    <a:pt x="409" y="1447"/>
                  </a:cubicBezTo>
                  <a:cubicBezTo>
                    <a:pt x="409" y="1449"/>
                    <a:pt x="410" y="1466"/>
                    <a:pt x="409" y="1471"/>
                  </a:cubicBezTo>
                  <a:cubicBezTo>
                    <a:pt x="409" y="1477"/>
                    <a:pt x="395" y="1476"/>
                    <a:pt x="395" y="1476"/>
                  </a:cubicBezTo>
                  <a:cubicBezTo>
                    <a:pt x="342" y="1508"/>
                    <a:pt x="342" y="1508"/>
                    <a:pt x="342" y="1508"/>
                  </a:cubicBezTo>
                  <a:cubicBezTo>
                    <a:pt x="342" y="1508"/>
                    <a:pt x="321" y="1497"/>
                    <a:pt x="319" y="1496"/>
                  </a:cubicBezTo>
                  <a:cubicBezTo>
                    <a:pt x="318" y="1496"/>
                    <a:pt x="310" y="1507"/>
                    <a:pt x="297" y="1509"/>
                  </a:cubicBezTo>
                  <a:cubicBezTo>
                    <a:pt x="284" y="1511"/>
                    <a:pt x="263" y="1498"/>
                    <a:pt x="258" y="1492"/>
                  </a:cubicBezTo>
                  <a:cubicBezTo>
                    <a:pt x="254" y="1485"/>
                    <a:pt x="265" y="1482"/>
                    <a:pt x="269" y="1473"/>
                  </a:cubicBezTo>
                  <a:cubicBezTo>
                    <a:pt x="273" y="1464"/>
                    <a:pt x="244" y="1476"/>
                    <a:pt x="236" y="1479"/>
                  </a:cubicBezTo>
                  <a:cubicBezTo>
                    <a:pt x="229" y="1483"/>
                    <a:pt x="193" y="1487"/>
                    <a:pt x="180" y="1489"/>
                  </a:cubicBezTo>
                  <a:cubicBezTo>
                    <a:pt x="166" y="1490"/>
                    <a:pt x="145" y="1519"/>
                    <a:pt x="145" y="1519"/>
                  </a:cubicBezTo>
                  <a:cubicBezTo>
                    <a:pt x="145" y="1519"/>
                    <a:pt x="144" y="1535"/>
                    <a:pt x="144" y="1540"/>
                  </a:cubicBezTo>
                  <a:cubicBezTo>
                    <a:pt x="143" y="1546"/>
                    <a:pt x="133" y="1558"/>
                    <a:pt x="133" y="1558"/>
                  </a:cubicBezTo>
                  <a:cubicBezTo>
                    <a:pt x="133" y="1558"/>
                    <a:pt x="116" y="1526"/>
                    <a:pt x="116" y="1520"/>
                  </a:cubicBezTo>
                  <a:cubicBezTo>
                    <a:pt x="116" y="1513"/>
                    <a:pt x="100" y="1501"/>
                    <a:pt x="100" y="1501"/>
                  </a:cubicBezTo>
                  <a:cubicBezTo>
                    <a:pt x="100" y="1501"/>
                    <a:pt x="98" y="1521"/>
                    <a:pt x="92" y="1525"/>
                  </a:cubicBezTo>
                  <a:cubicBezTo>
                    <a:pt x="86" y="1528"/>
                    <a:pt x="59" y="1525"/>
                    <a:pt x="59" y="1525"/>
                  </a:cubicBezTo>
                  <a:cubicBezTo>
                    <a:pt x="59" y="1525"/>
                    <a:pt x="55" y="1533"/>
                    <a:pt x="50" y="1538"/>
                  </a:cubicBezTo>
                  <a:cubicBezTo>
                    <a:pt x="58" y="1546"/>
                    <a:pt x="58" y="1546"/>
                    <a:pt x="58" y="1546"/>
                  </a:cubicBezTo>
                  <a:cubicBezTo>
                    <a:pt x="42" y="1576"/>
                    <a:pt x="42" y="1576"/>
                    <a:pt x="42" y="1576"/>
                  </a:cubicBezTo>
                  <a:cubicBezTo>
                    <a:pt x="63" y="1594"/>
                    <a:pt x="63" y="1594"/>
                    <a:pt x="63" y="1594"/>
                  </a:cubicBezTo>
                  <a:cubicBezTo>
                    <a:pt x="63" y="1594"/>
                    <a:pt x="58" y="1626"/>
                    <a:pt x="69" y="1634"/>
                  </a:cubicBezTo>
                  <a:cubicBezTo>
                    <a:pt x="80" y="1643"/>
                    <a:pt x="92" y="1651"/>
                    <a:pt x="92" y="1651"/>
                  </a:cubicBezTo>
                  <a:cubicBezTo>
                    <a:pt x="96" y="1669"/>
                    <a:pt x="96" y="1669"/>
                    <a:pt x="96" y="1669"/>
                  </a:cubicBezTo>
                  <a:cubicBezTo>
                    <a:pt x="96" y="1669"/>
                    <a:pt x="125" y="1683"/>
                    <a:pt x="127" y="1686"/>
                  </a:cubicBezTo>
                  <a:cubicBezTo>
                    <a:pt x="128" y="1690"/>
                    <a:pt x="132" y="1741"/>
                    <a:pt x="148" y="1747"/>
                  </a:cubicBezTo>
                  <a:cubicBezTo>
                    <a:pt x="163" y="1754"/>
                    <a:pt x="186" y="1751"/>
                    <a:pt x="180" y="1765"/>
                  </a:cubicBezTo>
                  <a:cubicBezTo>
                    <a:pt x="173" y="1779"/>
                    <a:pt x="113" y="1838"/>
                    <a:pt x="114" y="1840"/>
                  </a:cubicBezTo>
                  <a:cubicBezTo>
                    <a:pt x="114" y="1842"/>
                    <a:pt x="124" y="1866"/>
                    <a:pt x="124" y="1866"/>
                  </a:cubicBezTo>
                  <a:cubicBezTo>
                    <a:pt x="124" y="1866"/>
                    <a:pt x="95" y="1884"/>
                    <a:pt x="101" y="1893"/>
                  </a:cubicBezTo>
                  <a:cubicBezTo>
                    <a:pt x="107" y="1901"/>
                    <a:pt x="120" y="1934"/>
                    <a:pt x="106" y="1936"/>
                  </a:cubicBezTo>
                  <a:cubicBezTo>
                    <a:pt x="93" y="1938"/>
                    <a:pt x="82" y="1929"/>
                    <a:pt x="76" y="1935"/>
                  </a:cubicBezTo>
                  <a:cubicBezTo>
                    <a:pt x="70" y="1941"/>
                    <a:pt x="68" y="1958"/>
                    <a:pt x="68" y="1958"/>
                  </a:cubicBezTo>
                  <a:cubicBezTo>
                    <a:pt x="29" y="1984"/>
                    <a:pt x="29" y="1984"/>
                    <a:pt x="29" y="1984"/>
                  </a:cubicBezTo>
                  <a:cubicBezTo>
                    <a:pt x="16" y="1984"/>
                    <a:pt x="16" y="1984"/>
                    <a:pt x="16" y="1984"/>
                  </a:cubicBezTo>
                  <a:cubicBezTo>
                    <a:pt x="0" y="1997"/>
                    <a:pt x="0" y="1997"/>
                    <a:pt x="0" y="1997"/>
                  </a:cubicBezTo>
                  <a:cubicBezTo>
                    <a:pt x="53" y="2039"/>
                    <a:pt x="53" y="2039"/>
                    <a:pt x="53" y="2039"/>
                  </a:cubicBezTo>
                  <a:cubicBezTo>
                    <a:pt x="53" y="2039"/>
                    <a:pt x="98" y="2183"/>
                    <a:pt x="88" y="2192"/>
                  </a:cubicBezTo>
                  <a:cubicBezTo>
                    <a:pt x="79" y="2200"/>
                    <a:pt x="45" y="2235"/>
                    <a:pt x="47" y="2235"/>
                  </a:cubicBezTo>
                  <a:cubicBezTo>
                    <a:pt x="48" y="2235"/>
                    <a:pt x="80" y="2240"/>
                    <a:pt x="80" y="2257"/>
                  </a:cubicBezTo>
                  <a:cubicBezTo>
                    <a:pt x="80" y="2274"/>
                    <a:pt x="68" y="2301"/>
                    <a:pt x="81" y="2307"/>
                  </a:cubicBezTo>
                  <a:cubicBezTo>
                    <a:pt x="94" y="2314"/>
                    <a:pt x="104" y="2309"/>
                    <a:pt x="102" y="2319"/>
                  </a:cubicBezTo>
                  <a:cubicBezTo>
                    <a:pt x="100" y="2329"/>
                    <a:pt x="96" y="2349"/>
                    <a:pt x="106" y="2354"/>
                  </a:cubicBezTo>
                  <a:cubicBezTo>
                    <a:pt x="116" y="2358"/>
                    <a:pt x="132" y="2373"/>
                    <a:pt x="132" y="2373"/>
                  </a:cubicBezTo>
                  <a:cubicBezTo>
                    <a:pt x="102" y="2424"/>
                    <a:pt x="102" y="2424"/>
                    <a:pt x="102" y="2424"/>
                  </a:cubicBezTo>
                  <a:cubicBezTo>
                    <a:pt x="112" y="2436"/>
                    <a:pt x="112" y="2436"/>
                    <a:pt x="112" y="2436"/>
                  </a:cubicBezTo>
                  <a:cubicBezTo>
                    <a:pt x="112" y="2436"/>
                    <a:pt x="100" y="2463"/>
                    <a:pt x="104" y="2468"/>
                  </a:cubicBezTo>
                  <a:cubicBezTo>
                    <a:pt x="107" y="2473"/>
                    <a:pt x="125" y="2481"/>
                    <a:pt x="130" y="2480"/>
                  </a:cubicBezTo>
                  <a:cubicBezTo>
                    <a:pt x="134" y="2478"/>
                    <a:pt x="135" y="2461"/>
                    <a:pt x="143" y="2465"/>
                  </a:cubicBezTo>
                  <a:cubicBezTo>
                    <a:pt x="151" y="2470"/>
                    <a:pt x="163" y="2477"/>
                    <a:pt x="190" y="2478"/>
                  </a:cubicBezTo>
                  <a:cubicBezTo>
                    <a:pt x="218" y="2479"/>
                    <a:pt x="218" y="2461"/>
                    <a:pt x="218" y="2461"/>
                  </a:cubicBezTo>
                  <a:cubicBezTo>
                    <a:pt x="242" y="2501"/>
                    <a:pt x="242" y="2501"/>
                    <a:pt x="242" y="2501"/>
                  </a:cubicBezTo>
                  <a:cubicBezTo>
                    <a:pt x="242" y="2501"/>
                    <a:pt x="223" y="2503"/>
                    <a:pt x="223" y="2513"/>
                  </a:cubicBezTo>
                  <a:cubicBezTo>
                    <a:pt x="224" y="2523"/>
                    <a:pt x="224" y="2541"/>
                    <a:pt x="224" y="2541"/>
                  </a:cubicBezTo>
                  <a:cubicBezTo>
                    <a:pt x="224" y="2541"/>
                    <a:pt x="256" y="2523"/>
                    <a:pt x="268" y="2533"/>
                  </a:cubicBezTo>
                  <a:cubicBezTo>
                    <a:pt x="279" y="2544"/>
                    <a:pt x="307" y="2594"/>
                    <a:pt x="307" y="2594"/>
                  </a:cubicBezTo>
                  <a:cubicBezTo>
                    <a:pt x="307" y="2594"/>
                    <a:pt x="285" y="2609"/>
                    <a:pt x="297" y="2621"/>
                  </a:cubicBezTo>
                  <a:cubicBezTo>
                    <a:pt x="310" y="2632"/>
                    <a:pt x="327" y="2620"/>
                    <a:pt x="337" y="2633"/>
                  </a:cubicBezTo>
                  <a:cubicBezTo>
                    <a:pt x="346" y="2646"/>
                    <a:pt x="328" y="2667"/>
                    <a:pt x="330" y="2678"/>
                  </a:cubicBezTo>
                  <a:cubicBezTo>
                    <a:pt x="332" y="2688"/>
                    <a:pt x="354" y="2708"/>
                    <a:pt x="353" y="2711"/>
                  </a:cubicBezTo>
                  <a:cubicBezTo>
                    <a:pt x="353" y="2715"/>
                    <a:pt x="352" y="2723"/>
                    <a:pt x="352" y="2723"/>
                  </a:cubicBezTo>
                  <a:cubicBezTo>
                    <a:pt x="391" y="2736"/>
                    <a:pt x="391" y="2736"/>
                    <a:pt x="391" y="2736"/>
                  </a:cubicBezTo>
                  <a:cubicBezTo>
                    <a:pt x="391" y="2736"/>
                    <a:pt x="393" y="2774"/>
                    <a:pt x="386" y="2796"/>
                  </a:cubicBezTo>
                  <a:cubicBezTo>
                    <a:pt x="378" y="2817"/>
                    <a:pt x="377" y="2826"/>
                    <a:pt x="377" y="2828"/>
                  </a:cubicBezTo>
                  <a:cubicBezTo>
                    <a:pt x="377" y="2830"/>
                    <a:pt x="388" y="2845"/>
                    <a:pt x="386" y="2850"/>
                  </a:cubicBezTo>
                  <a:cubicBezTo>
                    <a:pt x="385" y="2855"/>
                    <a:pt x="379" y="2873"/>
                    <a:pt x="379" y="2873"/>
                  </a:cubicBezTo>
                  <a:cubicBezTo>
                    <a:pt x="379" y="2873"/>
                    <a:pt x="393" y="2888"/>
                    <a:pt x="391" y="2888"/>
                  </a:cubicBezTo>
                  <a:cubicBezTo>
                    <a:pt x="388" y="2888"/>
                    <a:pt x="371" y="2902"/>
                    <a:pt x="379" y="2911"/>
                  </a:cubicBezTo>
                  <a:cubicBezTo>
                    <a:pt x="387" y="2919"/>
                    <a:pt x="410" y="2938"/>
                    <a:pt x="421" y="2938"/>
                  </a:cubicBezTo>
                  <a:cubicBezTo>
                    <a:pt x="431" y="2938"/>
                    <a:pt x="451" y="2923"/>
                    <a:pt x="451" y="2923"/>
                  </a:cubicBezTo>
                  <a:cubicBezTo>
                    <a:pt x="451" y="2923"/>
                    <a:pt x="444" y="2906"/>
                    <a:pt x="452" y="2905"/>
                  </a:cubicBezTo>
                  <a:cubicBezTo>
                    <a:pt x="459" y="2904"/>
                    <a:pt x="502" y="2902"/>
                    <a:pt x="506" y="2889"/>
                  </a:cubicBezTo>
                  <a:cubicBezTo>
                    <a:pt x="510" y="2876"/>
                    <a:pt x="515" y="2862"/>
                    <a:pt x="519" y="2861"/>
                  </a:cubicBezTo>
                  <a:cubicBezTo>
                    <a:pt x="523" y="2860"/>
                    <a:pt x="537" y="2875"/>
                    <a:pt x="537" y="2875"/>
                  </a:cubicBezTo>
                  <a:cubicBezTo>
                    <a:pt x="537" y="2875"/>
                    <a:pt x="550" y="2910"/>
                    <a:pt x="551" y="2907"/>
                  </a:cubicBezTo>
                  <a:cubicBezTo>
                    <a:pt x="553" y="2904"/>
                    <a:pt x="546" y="2887"/>
                    <a:pt x="562" y="2880"/>
                  </a:cubicBezTo>
                  <a:cubicBezTo>
                    <a:pt x="578" y="2873"/>
                    <a:pt x="586" y="2866"/>
                    <a:pt x="585" y="2864"/>
                  </a:cubicBezTo>
                  <a:cubicBezTo>
                    <a:pt x="584" y="2862"/>
                    <a:pt x="568" y="2842"/>
                    <a:pt x="577" y="2832"/>
                  </a:cubicBezTo>
                  <a:cubicBezTo>
                    <a:pt x="586" y="2822"/>
                    <a:pt x="599" y="2808"/>
                    <a:pt x="600" y="2802"/>
                  </a:cubicBezTo>
                  <a:cubicBezTo>
                    <a:pt x="601" y="2797"/>
                    <a:pt x="610" y="2784"/>
                    <a:pt x="609" y="2781"/>
                  </a:cubicBezTo>
                  <a:cubicBezTo>
                    <a:pt x="609" y="2778"/>
                    <a:pt x="598" y="2769"/>
                    <a:pt x="605" y="2763"/>
                  </a:cubicBezTo>
                  <a:cubicBezTo>
                    <a:pt x="612" y="2757"/>
                    <a:pt x="615" y="2759"/>
                    <a:pt x="616" y="2756"/>
                  </a:cubicBezTo>
                  <a:cubicBezTo>
                    <a:pt x="616" y="2753"/>
                    <a:pt x="625" y="2716"/>
                    <a:pt x="644" y="2714"/>
                  </a:cubicBezTo>
                  <a:cubicBezTo>
                    <a:pt x="662" y="2712"/>
                    <a:pt x="728" y="2734"/>
                    <a:pt x="728" y="2734"/>
                  </a:cubicBezTo>
                  <a:cubicBezTo>
                    <a:pt x="730" y="2749"/>
                    <a:pt x="730" y="2749"/>
                    <a:pt x="730" y="2749"/>
                  </a:cubicBezTo>
                  <a:cubicBezTo>
                    <a:pt x="730" y="2749"/>
                    <a:pt x="741" y="2754"/>
                    <a:pt x="740" y="2756"/>
                  </a:cubicBezTo>
                  <a:cubicBezTo>
                    <a:pt x="738" y="2759"/>
                    <a:pt x="745" y="2784"/>
                    <a:pt x="751" y="2782"/>
                  </a:cubicBezTo>
                  <a:cubicBezTo>
                    <a:pt x="756" y="2779"/>
                    <a:pt x="790" y="2750"/>
                    <a:pt x="790" y="2750"/>
                  </a:cubicBezTo>
                  <a:cubicBezTo>
                    <a:pt x="790" y="2750"/>
                    <a:pt x="829" y="2766"/>
                    <a:pt x="829" y="2769"/>
                  </a:cubicBezTo>
                  <a:cubicBezTo>
                    <a:pt x="829" y="2771"/>
                    <a:pt x="829" y="2788"/>
                    <a:pt x="829" y="2788"/>
                  </a:cubicBezTo>
                  <a:cubicBezTo>
                    <a:pt x="841" y="2790"/>
                    <a:pt x="841" y="2790"/>
                    <a:pt x="841" y="2790"/>
                  </a:cubicBezTo>
                  <a:cubicBezTo>
                    <a:pt x="855" y="2827"/>
                    <a:pt x="855" y="2827"/>
                    <a:pt x="855" y="2827"/>
                  </a:cubicBezTo>
                  <a:cubicBezTo>
                    <a:pt x="872" y="2832"/>
                    <a:pt x="872" y="2832"/>
                    <a:pt x="872" y="2832"/>
                  </a:cubicBezTo>
                  <a:cubicBezTo>
                    <a:pt x="872" y="2832"/>
                    <a:pt x="888" y="2848"/>
                    <a:pt x="891" y="2868"/>
                  </a:cubicBezTo>
                  <a:cubicBezTo>
                    <a:pt x="894" y="2888"/>
                    <a:pt x="907" y="2913"/>
                    <a:pt x="909" y="2913"/>
                  </a:cubicBezTo>
                  <a:cubicBezTo>
                    <a:pt x="911" y="2913"/>
                    <a:pt x="921" y="2906"/>
                    <a:pt x="921" y="2906"/>
                  </a:cubicBezTo>
                  <a:cubicBezTo>
                    <a:pt x="951" y="2950"/>
                    <a:pt x="951" y="2950"/>
                    <a:pt x="951" y="2950"/>
                  </a:cubicBezTo>
                  <a:cubicBezTo>
                    <a:pt x="951" y="2950"/>
                    <a:pt x="959" y="2945"/>
                    <a:pt x="967" y="2962"/>
                  </a:cubicBezTo>
                  <a:cubicBezTo>
                    <a:pt x="975" y="2979"/>
                    <a:pt x="1025" y="2994"/>
                    <a:pt x="1025" y="2994"/>
                  </a:cubicBezTo>
                  <a:cubicBezTo>
                    <a:pt x="1025" y="2994"/>
                    <a:pt x="1006" y="3008"/>
                    <a:pt x="1009" y="3015"/>
                  </a:cubicBezTo>
                  <a:cubicBezTo>
                    <a:pt x="1012" y="3022"/>
                    <a:pt x="1027" y="3035"/>
                    <a:pt x="1027" y="3035"/>
                  </a:cubicBezTo>
                  <a:cubicBezTo>
                    <a:pt x="1027" y="3035"/>
                    <a:pt x="1060" y="2989"/>
                    <a:pt x="1071" y="3002"/>
                  </a:cubicBezTo>
                  <a:cubicBezTo>
                    <a:pt x="1082" y="3016"/>
                    <a:pt x="1088" y="3038"/>
                    <a:pt x="1094" y="3038"/>
                  </a:cubicBezTo>
                  <a:cubicBezTo>
                    <a:pt x="1100" y="3038"/>
                    <a:pt x="1116" y="3022"/>
                    <a:pt x="1116" y="3022"/>
                  </a:cubicBezTo>
                  <a:cubicBezTo>
                    <a:pt x="1116" y="3022"/>
                    <a:pt x="1153" y="3058"/>
                    <a:pt x="1147" y="3076"/>
                  </a:cubicBezTo>
                  <a:cubicBezTo>
                    <a:pt x="1141" y="3093"/>
                    <a:pt x="1141" y="3096"/>
                    <a:pt x="1141" y="3096"/>
                  </a:cubicBezTo>
                  <a:cubicBezTo>
                    <a:pt x="1141" y="3096"/>
                    <a:pt x="1177" y="3112"/>
                    <a:pt x="1177" y="3114"/>
                  </a:cubicBezTo>
                  <a:cubicBezTo>
                    <a:pt x="1176" y="3116"/>
                    <a:pt x="1158" y="3131"/>
                    <a:pt x="1158" y="3134"/>
                  </a:cubicBezTo>
                  <a:cubicBezTo>
                    <a:pt x="1158" y="3136"/>
                    <a:pt x="1172" y="3150"/>
                    <a:pt x="1172" y="3150"/>
                  </a:cubicBezTo>
                  <a:cubicBezTo>
                    <a:pt x="1172" y="3150"/>
                    <a:pt x="1176" y="3167"/>
                    <a:pt x="1179" y="3167"/>
                  </a:cubicBezTo>
                  <a:cubicBezTo>
                    <a:pt x="1181" y="3167"/>
                    <a:pt x="1205" y="3191"/>
                    <a:pt x="1222" y="3208"/>
                  </a:cubicBezTo>
                  <a:cubicBezTo>
                    <a:pt x="1231" y="3201"/>
                    <a:pt x="1238" y="3196"/>
                    <a:pt x="1243" y="3192"/>
                  </a:cubicBezTo>
                  <a:cubicBezTo>
                    <a:pt x="1260" y="3179"/>
                    <a:pt x="1293" y="3154"/>
                    <a:pt x="1316" y="3151"/>
                  </a:cubicBezTo>
                  <a:cubicBezTo>
                    <a:pt x="1339" y="3148"/>
                    <a:pt x="1356" y="3161"/>
                    <a:pt x="1356" y="3161"/>
                  </a:cubicBezTo>
                  <a:cubicBezTo>
                    <a:pt x="1356" y="3161"/>
                    <a:pt x="1395" y="3143"/>
                    <a:pt x="1430" y="3147"/>
                  </a:cubicBezTo>
                  <a:cubicBezTo>
                    <a:pt x="1465" y="3151"/>
                    <a:pt x="1495" y="3185"/>
                    <a:pt x="1515" y="3204"/>
                  </a:cubicBezTo>
                  <a:cubicBezTo>
                    <a:pt x="1534" y="3223"/>
                    <a:pt x="1558" y="3252"/>
                    <a:pt x="1581" y="3268"/>
                  </a:cubicBezTo>
                  <a:cubicBezTo>
                    <a:pt x="1605" y="3285"/>
                    <a:pt x="1641" y="3314"/>
                    <a:pt x="1653" y="3324"/>
                  </a:cubicBezTo>
                  <a:cubicBezTo>
                    <a:pt x="1664" y="3333"/>
                    <a:pt x="1667" y="3342"/>
                    <a:pt x="1688" y="3365"/>
                  </a:cubicBezTo>
                  <a:cubicBezTo>
                    <a:pt x="1709" y="3388"/>
                    <a:pt x="1745" y="3335"/>
                    <a:pt x="1749" y="3334"/>
                  </a:cubicBezTo>
                  <a:cubicBezTo>
                    <a:pt x="1753" y="3333"/>
                    <a:pt x="1763" y="3339"/>
                    <a:pt x="1777" y="3342"/>
                  </a:cubicBezTo>
                  <a:cubicBezTo>
                    <a:pt x="1791" y="3345"/>
                    <a:pt x="1799" y="3324"/>
                    <a:pt x="1805" y="3324"/>
                  </a:cubicBezTo>
                  <a:cubicBezTo>
                    <a:pt x="1811" y="3323"/>
                    <a:pt x="1839" y="3340"/>
                    <a:pt x="1856" y="3348"/>
                  </a:cubicBezTo>
                  <a:cubicBezTo>
                    <a:pt x="1873" y="3356"/>
                    <a:pt x="1888" y="3322"/>
                    <a:pt x="1888" y="3322"/>
                  </a:cubicBezTo>
                  <a:cubicBezTo>
                    <a:pt x="1893" y="3334"/>
                    <a:pt x="1893" y="3334"/>
                    <a:pt x="1893" y="3334"/>
                  </a:cubicBezTo>
                  <a:cubicBezTo>
                    <a:pt x="1896" y="3345"/>
                    <a:pt x="1896" y="3345"/>
                    <a:pt x="1896" y="3345"/>
                  </a:cubicBezTo>
                  <a:cubicBezTo>
                    <a:pt x="1899" y="3356"/>
                    <a:pt x="1928" y="3369"/>
                    <a:pt x="1928" y="3369"/>
                  </a:cubicBezTo>
                  <a:cubicBezTo>
                    <a:pt x="1928" y="3369"/>
                    <a:pt x="1931" y="3392"/>
                    <a:pt x="1933" y="3394"/>
                  </a:cubicBezTo>
                  <a:cubicBezTo>
                    <a:pt x="1936" y="3396"/>
                    <a:pt x="1971" y="3409"/>
                    <a:pt x="1971" y="3409"/>
                  </a:cubicBezTo>
                  <a:cubicBezTo>
                    <a:pt x="2053" y="3356"/>
                    <a:pt x="2053" y="3356"/>
                    <a:pt x="2053" y="3356"/>
                  </a:cubicBezTo>
                  <a:cubicBezTo>
                    <a:pt x="2053" y="3356"/>
                    <a:pt x="2051" y="3338"/>
                    <a:pt x="2053" y="3322"/>
                  </a:cubicBezTo>
                  <a:cubicBezTo>
                    <a:pt x="2054" y="3306"/>
                    <a:pt x="2087" y="3292"/>
                    <a:pt x="2087" y="3292"/>
                  </a:cubicBezTo>
                  <a:cubicBezTo>
                    <a:pt x="2087" y="3292"/>
                    <a:pt x="2121" y="3231"/>
                    <a:pt x="2133" y="3228"/>
                  </a:cubicBezTo>
                  <a:cubicBezTo>
                    <a:pt x="2144" y="3226"/>
                    <a:pt x="2142" y="3258"/>
                    <a:pt x="2144" y="3261"/>
                  </a:cubicBezTo>
                  <a:cubicBezTo>
                    <a:pt x="2146" y="3264"/>
                    <a:pt x="2168" y="3277"/>
                    <a:pt x="2172" y="3285"/>
                  </a:cubicBezTo>
                  <a:cubicBezTo>
                    <a:pt x="2176" y="3293"/>
                    <a:pt x="2161" y="3310"/>
                    <a:pt x="2158" y="3316"/>
                  </a:cubicBezTo>
                  <a:cubicBezTo>
                    <a:pt x="2155" y="3322"/>
                    <a:pt x="2176" y="3347"/>
                    <a:pt x="2182" y="3357"/>
                  </a:cubicBezTo>
                  <a:cubicBezTo>
                    <a:pt x="2188" y="3367"/>
                    <a:pt x="2183" y="3383"/>
                    <a:pt x="2190" y="3396"/>
                  </a:cubicBezTo>
                  <a:cubicBezTo>
                    <a:pt x="2197" y="3408"/>
                    <a:pt x="2205" y="3421"/>
                    <a:pt x="2207" y="3423"/>
                  </a:cubicBezTo>
                  <a:cubicBezTo>
                    <a:pt x="2208" y="3425"/>
                    <a:pt x="2202" y="3462"/>
                    <a:pt x="2203" y="3465"/>
                  </a:cubicBezTo>
                  <a:cubicBezTo>
                    <a:pt x="2203" y="3468"/>
                    <a:pt x="2212" y="3478"/>
                    <a:pt x="2217" y="3484"/>
                  </a:cubicBezTo>
                  <a:cubicBezTo>
                    <a:pt x="2221" y="3490"/>
                    <a:pt x="2204" y="3506"/>
                    <a:pt x="2203" y="3510"/>
                  </a:cubicBezTo>
                  <a:cubicBezTo>
                    <a:pt x="2203" y="3515"/>
                    <a:pt x="2219" y="3528"/>
                    <a:pt x="2225" y="3536"/>
                  </a:cubicBezTo>
                  <a:cubicBezTo>
                    <a:pt x="2231" y="3545"/>
                    <a:pt x="2149" y="3570"/>
                    <a:pt x="2149" y="3570"/>
                  </a:cubicBezTo>
                  <a:cubicBezTo>
                    <a:pt x="2141" y="3616"/>
                    <a:pt x="2141" y="3616"/>
                    <a:pt x="2141" y="3616"/>
                  </a:cubicBezTo>
                  <a:cubicBezTo>
                    <a:pt x="2117" y="3639"/>
                    <a:pt x="2117" y="3639"/>
                    <a:pt x="2117" y="3639"/>
                  </a:cubicBezTo>
                  <a:cubicBezTo>
                    <a:pt x="2117" y="3639"/>
                    <a:pt x="2137" y="3662"/>
                    <a:pt x="2167" y="3678"/>
                  </a:cubicBezTo>
                  <a:cubicBezTo>
                    <a:pt x="2198" y="3694"/>
                    <a:pt x="2185" y="3714"/>
                    <a:pt x="2193" y="3728"/>
                  </a:cubicBezTo>
                  <a:cubicBezTo>
                    <a:pt x="2201" y="3742"/>
                    <a:pt x="2222" y="3754"/>
                    <a:pt x="2222" y="3754"/>
                  </a:cubicBezTo>
                  <a:cubicBezTo>
                    <a:pt x="2222" y="3754"/>
                    <a:pt x="2234" y="3796"/>
                    <a:pt x="2234" y="3798"/>
                  </a:cubicBezTo>
                  <a:cubicBezTo>
                    <a:pt x="2234" y="3800"/>
                    <a:pt x="2198" y="3828"/>
                    <a:pt x="2198" y="3828"/>
                  </a:cubicBezTo>
                  <a:cubicBezTo>
                    <a:pt x="2198" y="3828"/>
                    <a:pt x="2237" y="3856"/>
                    <a:pt x="2239" y="3856"/>
                  </a:cubicBezTo>
                  <a:cubicBezTo>
                    <a:pt x="2241" y="3856"/>
                    <a:pt x="2240" y="3844"/>
                    <a:pt x="2240" y="3844"/>
                  </a:cubicBezTo>
                  <a:cubicBezTo>
                    <a:pt x="2228" y="3830"/>
                    <a:pt x="2228" y="3830"/>
                    <a:pt x="2228" y="3830"/>
                  </a:cubicBezTo>
                  <a:cubicBezTo>
                    <a:pt x="2249" y="3812"/>
                    <a:pt x="2249" y="3812"/>
                    <a:pt x="2249" y="3812"/>
                  </a:cubicBezTo>
                  <a:cubicBezTo>
                    <a:pt x="2253" y="3736"/>
                    <a:pt x="2253" y="3736"/>
                    <a:pt x="2253" y="3736"/>
                  </a:cubicBezTo>
                  <a:cubicBezTo>
                    <a:pt x="2253" y="3736"/>
                    <a:pt x="2270" y="3760"/>
                    <a:pt x="2271" y="3762"/>
                  </a:cubicBezTo>
                  <a:cubicBezTo>
                    <a:pt x="2271" y="3765"/>
                    <a:pt x="2267" y="3724"/>
                    <a:pt x="2281" y="3721"/>
                  </a:cubicBezTo>
                  <a:cubicBezTo>
                    <a:pt x="2295" y="3718"/>
                    <a:pt x="2298" y="3748"/>
                    <a:pt x="2299" y="3752"/>
                  </a:cubicBezTo>
                  <a:cubicBezTo>
                    <a:pt x="2301" y="3756"/>
                    <a:pt x="2325" y="3736"/>
                    <a:pt x="2334" y="3733"/>
                  </a:cubicBezTo>
                  <a:cubicBezTo>
                    <a:pt x="2343" y="3730"/>
                    <a:pt x="2355" y="3733"/>
                    <a:pt x="2355" y="3733"/>
                  </a:cubicBezTo>
                  <a:cubicBezTo>
                    <a:pt x="2355" y="3733"/>
                    <a:pt x="2367" y="3716"/>
                    <a:pt x="2373" y="3710"/>
                  </a:cubicBezTo>
                  <a:cubicBezTo>
                    <a:pt x="2380" y="3704"/>
                    <a:pt x="2399" y="3656"/>
                    <a:pt x="2405" y="3648"/>
                  </a:cubicBezTo>
                  <a:cubicBezTo>
                    <a:pt x="2412" y="3640"/>
                    <a:pt x="2431" y="3574"/>
                    <a:pt x="2431" y="3574"/>
                  </a:cubicBezTo>
                  <a:cubicBezTo>
                    <a:pt x="2431" y="3574"/>
                    <a:pt x="2432" y="3346"/>
                    <a:pt x="2432" y="3309"/>
                  </a:cubicBezTo>
                  <a:cubicBezTo>
                    <a:pt x="2432" y="3272"/>
                    <a:pt x="2421" y="3206"/>
                    <a:pt x="2411" y="3191"/>
                  </a:cubicBezTo>
                  <a:cubicBezTo>
                    <a:pt x="2401" y="3176"/>
                    <a:pt x="2399" y="3120"/>
                    <a:pt x="2397" y="3106"/>
                  </a:cubicBezTo>
                  <a:cubicBezTo>
                    <a:pt x="2396" y="3092"/>
                    <a:pt x="2399" y="2998"/>
                    <a:pt x="2399" y="2998"/>
                  </a:cubicBezTo>
                  <a:cubicBezTo>
                    <a:pt x="2333" y="2887"/>
                    <a:pt x="2333" y="2887"/>
                    <a:pt x="2333" y="2887"/>
                  </a:cubicBezTo>
                  <a:cubicBezTo>
                    <a:pt x="2321" y="2885"/>
                    <a:pt x="2321" y="2885"/>
                    <a:pt x="2321" y="2885"/>
                  </a:cubicBezTo>
                  <a:cubicBezTo>
                    <a:pt x="2313" y="2860"/>
                    <a:pt x="2313" y="2860"/>
                    <a:pt x="2313" y="2860"/>
                  </a:cubicBezTo>
                  <a:cubicBezTo>
                    <a:pt x="2263" y="2814"/>
                    <a:pt x="2263" y="2814"/>
                    <a:pt x="2263" y="2814"/>
                  </a:cubicBezTo>
                  <a:cubicBezTo>
                    <a:pt x="2263" y="2814"/>
                    <a:pt x="2259" y="2788"/>
                    <a:pt x="2251" y="2780"/>
                  </a:cubicBezTo>
                  <a:cubicBezTo>
                    <a:pt x="2244" y="2772"/>
                    <a:pt x="2231" y="2744"/>
                    <a:pt x="2231" y="2744"/>
                  </a:cubicBezTo>
                  <a:cubicBezTo>
                    <a:pt x="2236" y="2699"/>
                    <a:pt x="2236" y="2699"/>
                    <a:pt x="2236" y="2699"/>
                  </a:cubicBezTo>
                  <a:cubicBezTo>
                    <a:pt x="2219" y="2678"/>
                    <a:pt x="2219" y="2678"/>
                    <a:pt x="2219" y="2678"/>
                  </a:cubicBezTo>
                  <a:cubicBezTo>
                    <a:pt x="2195" y="2677"/>
                    <a:pt x="2195" y="2677"/>
                    <a:pt x="2195" y="2677"/>
                  </a:cubicBezTo>
                  <a:cubicBezTo>
                    <a:pt x="2195" y="2677"/>
                    <a:pt x="2181" y="2651"/>
                    <a:pt x="2171" y="2642"/>
                  </a:cubicBezTo>
                  <a:cubicBezTo>
                    <a:pt x="2161" y="2632"/>
                    <a:pt x="2132" y="2634"/>
                    <a:pt x="2132" y="2634"/>
                  </a:cubicBezTo>
                  <a:cubicBezTo>
                    <a:pt x="2132" y="2634"/>
                    <a:pt x="2149" y="2628"/>
                    <a:pt x="2151" y="2619"/>
                  </a:cubicBezTo>
                  <a:cubicBezTo>
                    <a:pt x="2152" y="2610"/>
                    <a:pt x="2151" y="2600"/>
                    <a:pt x="2151" y="2600"/>
                  </a:cubicBezTo>
                  <a:cubicBezTo>
                    <a:pt x="2151" y="2600"/>
                    <a:pt x="2125" y="2600"/>
                    <a:pt x="2104" y="2600"/>
                  </a:cubicBezTo>
                  <a:cubicBezTo>
                    <a:pt x="2083" y="2600"/>
                    <a:pt x="2051" y="2588"/>
                    <a:pt x="2033" y="2588"/>
                  </a:cubicBezTo>
                  <a:cubicBezTo>
                    <a:pt x="2016" y="2588"/>
                    <a:pt x="2007" y="2600"/>
                    <a:pt x="1999" y="2610"/>
                  </a:cubicBezTo>
                  <a:cubicBezTo>
                    <a:pt x="1990" y="2620"/>
                    <a:pt x="1967" y="2624"/>
                    <a:pt x="1967" y="2624"/>
                  </a:cubicBezTo>
                  <a:cubicBezTo>
                    <a:pt x="1967" y="2624"/>
                    <a:pt x="1998" y="2684"/>
                    <a:pt x="1997" y="2694"/>
                  </a:cubicBezTo>
                  <a:cubicBezTo>
                    <a:pt x="1995" y="2704"/>
                    <a:pt x="1979" y="2672"/>
                    <a:pt x="1979" y="2672"/>
                  </a:cubicBezTo>
                  <a:cubicBezTo>
                    <a:pt x="1979" y="2672"/>
                    <a:pt x="1961" y="2727"/>
                    <a:pt x="1949" y="2726"/>
                  </a:cubicBezTo>
                  <a:cubicBezTo>
                    <a:pt x="1938" y="2726"/>
                    <a:pt x="1944" y="2681"/>
                    <a:pt x="1944" y="2681"/>
                  </a:cubicBezTo>
                  <a:cubicBezTo>
                    <a:pt x="1927" y="2697"/>
                    <a:pt x="1927" y="2697"/>
                    <a:pt x="1927" y="2697"/>
                  </a:cubicBezTo>
                  <a:cubicBezTo>
                    <a:pt x="1927" y="2697"/>
                    <a:pt x="1916" y="2730"/>
                    <a:pt x="1910" y="2730"/>
                  </a:cubicBezTo>
                  <a:cubicBezTo>
                    <a:pt x="1904" y="2730"/>
                    <a:pt x="1895" y="2706"/>
                    <a:pt x="1895" y="2706"/>
                  </a:cubicBezTo>
                  <a:cubicBezTo>
                    <a:pt x="1867" y="2668"/>
                    <a:pt x="1867" y="2668"/>
                    <a:pt x="1867" y="2668"/>
                  </a:cubicBezTo>
                  <a:cubicBezTo>
                    <a:pt x="1867" y="2668"/>
                    <a:pt x="1803" y="2711"/>
                    <a:pt x="1788" y="2711"/>
                  </a:cubicBezTo>
                  <a:cubicBezTo>
                    <a:pt x="1773" y="2711"/>
                    <a:pt x="1787" y="2650"/>
                    <a:pt x="1795" y="2640"/>
                  </a:cubicBezTo>
                  <a:cubicBezTo>
                    <a:pt x="1803" y="2630"/>
                    <a:pt x="1792" y="2589"/>
                    <a:pt x="1797" y="2575"/>
                  </a:cubicBezTo>
                  <a:cubicBezTo>
                    <a:pt x="1803" y="2561"/>
                    <a:pt x="1806" y="2531"/>
                    <a:pt x="1812" y="2507"/>
                  </a:cubicBezTo>
                  <a:cubicBezTo>
                    <a:pt x="1818" y="2483"/>
                    <a:pt x="1803" y="2398"/>
                    <a:pt x="1810" y="2378"/>
                  </a:cubicBezTo>
                  <a:cubicBezTo>
                    <a:pt x="1817" y="2358"/>
                    <a:pt x="1818" y="2306"/>
                    <a:pt x="1818" y="2306"/>
                  </a:cubicBezTo>
                  <a:cubicBezTo>
                    <a:pt x="1818" y="2306"/>
                    <a:pt x="1805" y="2272"/>
                    <a:pt x="1799" y="2256"/>
                  </a:cubicBezTo>
                  <a:cubicBezTo>
                    <a:pt x="1794" y="2240"/>
                    <a:pt x="1811" y="2221"/>
                    <a:pt x="1813" y="2201"/>
                  </a:cubicBezTo>
                  <a:cubicBezTo>
                    <a:pt x="1815" y="2181"/>
                    <a:pt x="1807" y="2150"/>
                    <a:pt x="1807" y="2127"/>
                  </a:cubicBezTo>
                  <a:cubicBezTo>
                    <a:pt x="1807" y="2104"/>
                    <a:pt x="1820" y="2103"/>
                    <a:pt x="1830" y="2098"/>
                  </a:cubicBezTo>
                  <a:cubicBezTo>
                    <a:pt x="1840" y="2094"/>
                    <a:pt x="1856" y="2065"/>
                    <a:pt x="1871" y="2053"/>
                  </a:cubicBezTo>
                  <a:cubicBezTo>
                    <a:pt x="1885" y="2041"/>
                    <a:pt x="1901" y="2022"/>
                    <a:pt x="1901" y="2022"/>
                  </a:cubicBezTo>
                  <a:cubicBezTo>
                    <a:pt x="1901" y="2022"/>
                    <a:pt x="1930" y="2015"/>
                    <a:pt x="1941" y="2010"/>
                  </a:cubicBezTo>
                  <a:cubicBezTo>
                    <a:pt x="1953" y="2004"/>
                    <a:pt x="1937" y="2004"/>
                    <a:pt x="1933" y="1984"/>
                  </a:cubicBezTo>
                  <a:cubicBezTo>
                    <a:pt x="1930" y="1964"/>
                    <a:pt x="1955" y="1977"/>
                    <a:pt x="1955" y="1977"/>
                  </a:cubicBezTo>
                  <a:cubicBezTo>
                    <a:pt x="1955" y="1962"/>
                    <a:pt x="1955" y="1962"/>
                    <a:pt x="1955" y="1962"/>
                  </a:cubicBezTo>
                  <a:cubicBezTo>
                    <a:pt x="1955" y="1962"/>
                    <a:pt x="1969" y="1964"/>
                    <a:pt x="1982" y="1952"/>
                  </a:cubicBezTo>
                  <a:cubicBezTo>
                    <a:pt x="1995" y="1941"/>
                    <a:pt x="1985" y="1930"/>
                    <a:pt x="1990" y="1922"/>
                  </a:cubicBezTo>
                  <a:cubicBezTo>
                    <a:pt x="1995" y="1914"/>
                    <a:pt x="2005" y="1924"/>
                    <a:pt x="2013" y="1923"/>
                  </a:cubicBezTo>
                  <a:cubicBezTo>
                    <a:pt x="2020" y="1922"/>
                    <a:pt x="2023" y="1906"/>
                    <a:pt x="2023" y="1906"/>
                  </a:cubicBezTo>
                  <a:cubicBezTo>
                    <a:pt x="2005" y="1902"/>
                    <a:pt x="2005" y="1902"/>
                    <a:pt x="2005" y="1902"/>
                  </a:cubicBezTo>
                  <a:cubicBezTo>
                    <a:pt x="2012" y="1884"/>
                    <a:pt x="2012" y="1884"/>
                    <a:pt x="2012" y="1884"/>
                  </a:cubicBezTo>
                  <a:cubicBezTo>
                    <a:pt x="2012" y="1884"/>
                    <a:pt x="2005" y="1876"/>
                    <a:pt x="2005" y="1854"/>
                  </a:cubicBezTo>
                  <a:cubicBezTo>
                    <a:pt x="2006" y="1831"/>
                    <a:pt x="2019" y="1842"/>
                    <a:pt x="2039" y="1834"/>
                  </a:cubicBezTo>
                  <a:cubicBezTo>
                    <a:pt x="2059" y="1825"/>
                    <a:pt x="2075" y="1806"/>
                    <a:pt x="2087" y="1794"/>
                  </a:cubicBezTo>
                  <a:cubicBezTo>
                    <a:pt x="2099" y="1782"/>
                    <a:pt x="2104" y="1801"/>
                    <a:pt x="2119" y="1802"/>
                  </a:cubicBezTo>
                  <a:cubicBezTo>
                    <a:pt x="2133" y="1802"/>
                    <a:pt x="2131" y="1782"/>
                    <a:pt x="2141" y="1786"/>
                  </a:cubicBezTo>
                  <a:cubicBezTo>
                    <a:pt x="2150" y="1791"/>
                    <a:pt x="2125" y="1810"/>
                    <a:pt x="2118" y="1825"/>
                  </a:cubicBezTo>
                  <a:cubicBezTo>
                    <a:pt x="2111" y="1840"/>
                    <a:pt x="2127" y="1847"/>
                    <a:pt x="2139" y="1838"/>
                  </a:cubicBezTo>
                  <a:cubicBezTo>
                    <a:pt x="2152" y="1830"/>
                    <a:pt x="2146" y="1810"/>
                    <a:pt x="2150" y="1798"/>
                  </a:cubicBezTo>
                  <a:cubicBezTo>
                    <a:pt x="2154" y="1785"/>
                    <a:pt x="2170" y="1790"/>
                    <a:pt x="2170" y="1790"/>
                  </a:cubicBezTo>
                  <a:cubicBezTo>
                    <a:pt x="2173" y="1731"/>
                    <a:pt x="2173" y="1731"/>
                    <a:pt x="2173" y="1731"/>
                  </a:cubicBezTo>
                  <a:cubicBezTo>
                    <a:pt x="2173" y="1731"/>
                    <a:pt x="2205" y="1731"/>
                    <a:pt x="2208" y="1725"/>
                  </a:cubicBezTo>
                  <a:cubicBezTo>
                    <a:pt x="2211" y="1719"/>
                    <a:pt x="2199" y="1705"/>
                    <a:pt x="2199" y="1705"/>
                  </a:cubicBezTo>
                  <a:cubicBezTo>
                    <a:pt x="2199" y="1705"/>
                    <a:pt x="2201" y="1702"/>
                    <a:pt x="2204" y="1702"/>
                  </a:cubicBezTo>
                  <a:cubicBezTo>
                    <a:pt x="2207" y="1702"/>
                    <a:pt x="2227" y="1690"/>
                    <a:pt x="2226" y="1670"/>
                  </a:cubicBezTo>
                  <a:cubicBezTo>
                    <a:pt x="2225" y="1649"/>
                    <a:pt x="2203" y="1664"/>
                    <a:pt x="2195" y="1669"/>
                  </a:cubicBezTo>
                  <a:cubicBezTo>
                    <a:pt x="2186" y="1674"/>
                    <a:pt x="2179" y="1699"/>
                    <a:pt x="2179" y="1699"/>
                  </a:cubicBezTo>
                  <a:cubicBezTo>
                    <a:pt x="2168" y="1684"/>
                    <a:pt x="2168" y="1684"/>
                    <a:pt x="2168" y="1684"/>
                  </a:cubicBezTo>
                  <a:cubicBezTo>
                    <a:pt x="2149" y="1674"/>
                    <a:pt x="2149" y="1674"/>
                    <a:pt x="2149" y="1674"/>
                  </a:cubicBezTo>
                  <a:cubicBezTo>
                    <a:pt x="2149" y="1674"/>
                    <a:pt x="2155" y="1670"/>
                    <a:pt x="2155" y="1664"/>
                  </a:cubicBezTo>
                  <a:cubicBezTo>
                    <a:pt x="2155" y="1657"/>
                    <a:pt x="2134" y="1634"/>
                    <a:pt x="2134" y="1634"/>
                  </a:cubicBezTo>
                  <a:cubicBezTo>
                    <a:pt x="2129" y="1559"/>
                    <a:pt x="2129" y="1559"/>
                    <a:pt x="2129" y="1559"/>
                  </a:cubicBezTo>
                  <a:cubicBezTo>
                    <a:pt x="2129" y="1559"/>
                    <a:pt x="2133" y="1556"/>
                    <a:pt x="2120" y="1548"/>
                  </a:cubicBezTo>
                  <a:cubicBezTo>
                    <a:pt x="2107" y="1541"/>
                    <a:pt x="2109" y="1502"/>
                    <a:pt x="2109" y="1502"/>
                  </a:cubicBezTo>
                  <a:cubicBezTo>
                    <a:pt x="2109" y="1502"/>
                    <a:pt x="2113" y="1505"/>
                    <a:pt x="2095" y="1492"/>
                  </a:cubicBezTo>
                  <a:cubicBezTo>
                    <a:pt x="2077" y="1478"/>
                    <a:pt x="2091" y="1440"/>
                    <a:pt x="2091" y="1440"/>
                  </a:cubicBezTo>
                  <a:cubicBezTo>
                    <a:pt x="2108" y="1425"/>
                    <a:pt x="2108" y="1425"/>
                    <a:pt x="2108" y="1425"/>
                  </a:cubicBezTo>
                  <a:cubicBezTo>
                    <a:pt x="2105" y="1404"/>
                    <a:pt x="2105" y="1404"/>
                    <a:pt x="2105" y="1404"/>
                  </a:cubicBezTo>
                  <a:cubicBezTo>
                    <a:pt x="2119" y="1395"/>
                    <a:pt x="2119" y="1395"/>
                    <a:pt x="2119" y="1395"/>
                  </a:cubicBezTo>
                  <a:cubicBezTo>
                    <a:pt x="2123" y="1368"/>
                    <a:pt x="2123" y="1368"/>
                    <a:pt x="2123" y="1368"/>
                  </a:cubicBezTo>
                  <a:cubicBezTo>
                    <a:pt x="2154" y="1366"/>
                    <a:pt x="2154" y="1366"/>
                    <a:pt x="2154" y="1366"/>
                  </a:cubicBezTo>
                  <a:cubicBezTo>
                    <a:pt x="2149" y="1324"/>
                    <a:pt x="2149" y="1324"/>
                    <a:pt x="2149" y="1324"/>
                  </a:cubicBezTo>
                  <a:cubicBezTo>
                    <a:pt x="2149" y="1324"/>
                    <a:pt x="2172" y="1348"/>
                    <a:pt x="2179" y="1361"/>
                  </a:cubicBezTo>
                  <a:cubicBezTo>
                    <a:pt x="2185" y="1374"/>
                    <a:pt x="2210" y="1390"/>
                    <a:pt x="2210" y="1390"/>
                  </a:cubicBezTo>
                  <a:cubicBezTo>
                    <a:pt x="2224" y="1373"/>
                    <a:pt x="2224" y="1373"/>
                    <a:pt x="2224" y="1373"/>
                  </a:cubicBezTo>
                  <a:cubicBezTo>
                    <a:pt x="2248" y="1396"/>
                    <a:pt x="2248" y="1396"/>
                    <a:pt x="2248" y="1396"/>
                  </a:cubicBezTo>
                  <a:cubicBezTo>
                    <a:pt x="2248" y="1396"/>
                    <a:pt x="2239" y="1311"/>
                    <a:pt x="2239" y="1308"/>
                  </a:cubicBezTo>
                  <a:cubicBezTo>
                    <a:pt x="2239" y="1304"/>
                    <a:pt x="2228" y="1240"/>
                    <a:pt x="2228" y="1240"/>
                  </a:cubicBezTo>
                  <a:cubicBezTo>
                    <a:pt x="2241" y="1240"/>
                    <a:pt x="2241" y="1240"/>
                    <a:pt x="2241" y="1240"/>
                  </a:cubicBezTo>
                  <a:cubicBezTo>
                    <a:pt x="2244" y="1224"/>
                    <a:pt x="2244" y="1224"/>
                    <a:pt x="2244" y="1224"/>
                  </a:cubicBezTo>
                  <a:cubicBezTo>
                    <a:pt x="2225" y="1226"/>
                    <a:pt x="2225" y="1226"/>
                    <a:pt x="2225" y="1226"/>
                  </a:cubicBezTo>
                  <a:cubicBezTo>
                    <a:pt x="2225" y="1226"/>
                    <a:pt x="2170" y="1170"/>
                    <a:pt x="2170" y="1164"/>
                  </a:cubicBezTo>
                  <a:cubicBezTo>
                    <a:pt x="2170" y="1157"/>
                    <a:pt x="2178" y="1160"/>
                    <a:pt x="2178" y="1160"/>
                  </a:cubicBezTo>
                  <a:cubicBezTo>
                    <a:pt x="2178" y="1160"/>
                    <a:pt x="2178" y="1130"/>
                    <a:pt x="2184" y="1124"/>
                  </a:cubicBezTo>
                  <a:cubicBezTo>
                    <a:pt x="2190" y="1117"/>
                    <a:pt x="2199" y="1123"/>
                    <a:pt x="2199" y="1123"/>
                  </a:cubicBezTo>
                  <a:cubicBezTo>
                    <a:pt x="2199" y="1123"/>
                    <a:pt x="2215" y="1111"/>
                    <a:pt x="2222" y="1114"/>
                  </a:cubicBezTo>
                  <a:cubicBezTo>
                    <a:pt x="2229" y="1118"/>
                    <a:pt x="2211" y="1134"/>
                    <a:pt x="2214" y="1150"/>
                  </a:cubicBezTo>
                  <a:cubicBezTo>
                    <a:pt x="2217" y="1167"/>
                    <a:pt x="2232" y="1173"/>
                    <a:pt x="2243" y="1178"/>
                  </a:cubicBezTo>
                  <a:cubicBezTo>
                    <a:pt x="2253" y="1182"/>
                    <a:pt x="2269" y="1209"/>
                    <a:pt x="2271" y="1210"/>
                  </a:cubicBezTo>
                  <a:cubicBezTo>
                    <a:pt x="2273" y="1212"/>
                    <a:pt x="2287" y="1212"/>
                    <a:pt x="2287" y="1212"/>
                  </a:cubicBezTo>
                  <a:cubicBezTo>
                    <a:pt x="2287" y="1212"/>
                    <a:pt x="2289" y="1224"/>
                    <a:pt x="2295" y="1234"/>
                  </a:cubicBezTo>
                  <a:cubicBezTo>
                    <a:pt x="2301" y="1245"/>
                    <a:pt x="2317" y="1243"/>
                    <a:pt x="2317" y="1243"/>
                  </a:cubicBezTo>
                  <a:cubicBezTo>
                    <a:pt x="2314" y="1338"/>
                    <a:pt x="2314" y="1338"/>
                    <a:pt x="2314" y="1338"/>
                  </a:cubicBezTo>
                  <a:cubicBezTo>
                    <a:pt x="2325" y="1345"/>
                    <a:pt x="2325" y="1345"/>
                    <a:pt x="2325" y="1345"/>
                  </a:cubicBezTo>
                  <a:cubicBezTo>
                    <a:pt x="2325" y="1345"/>
                    <a:pt x="2335" y="1376"/>
                    <a:pt x="2347" y="1392"/>
                  </a:cubicBezTo>
                  <a:cubicBezTo>
                    <a:pt x="2359" y="1409"/>
                    <a:pt x="2351" y="1432"/>
                    <a:pt x="2351" y="1442"/>
                  </a:cubicBezTo>
                  <a:cubicBezTo>
                    <a:pt x="2351" y="1451"/>
                    <a:pt x="2359" y="1455"/>
                    <a:pt x="2359" y="1455"/>
                  </a:cubicBezTo>
                  <a:cubicBezTo>
                    <a:pt x="2359" y="1455"/>
                    <a:pt x="2362" y="1481"/>
                    <a:pt x="2363" y="1488"/>
                  </a:cubicBezTo>
                  <a:cubicBezTo>
                    <a:pt x="2363" y="1496"/>
                    <a:pt x="2369" y="1494"/>
                    <a:pt x="2385" y="1514"/>
                  </a:cubicBezTo>
                  <a:cubicBezTo>
                    <a:pt x="2400" y="1534"/>
                    <a:pt x="2411" y="1613"/>
                    <a:pt x="2411" y="1613"/>
                  </a:cubicBezTo>
                  <a:cubicBezTo>
                    <a:pt x="2411" y="1613"/>
                    <a:pt x="2399" y="1630"/>
                    <a:pt x="2396" y="1641"/>
                  </a:cubicBezTo>
                  <a:cubicBezTo>
                    <a:pt x="2393" y="1652"/>
                    <a:pt x="2406" y="1663"/>
                    <a:pt x="2406" y="1665"/>
                  </a:cubicBezTo>
                  <a:cubicBezTo>
                    <a:pt x="2406" y="1667"/>
                    <a:pt x="2384" y="1683"/>
                    <a:pt x="2382" y="1686"/>
                  </a:cubicBezTo>
                  <a:cubicBezTo>
                    <a:pt x="2380" y="1688"/>
                    <a:pt x="2407" y="1695"/>
                    <a:pt x="2423" y="1702"/>
                  </a:cubicBezTo>
                  <a:cubicBezTo>
                    <a:pt x="2438" y="1710"/>
                    <a:pt x="2441" y="1780"/>
                    <a:pt x="2441" y="1780"/>
                  </a:cubicBezTo>
                  <a:cubicBezTo>
                    <a:pt x="2506" y="1855"/>
                    <a:pt x="2506" y="1855"/>
                    <a:pt x="2506" y="1855"/>
                  </a:cubicBezTo>
                  <a:cubicBezTo>
                    <a:pt x="2506" y="1855"/>
                    <a:pt x="2545" y="1897"/>
                    <a:pt x="2552" y="1899"/>
                  </a:cubicBezTo>
                  <a:cubicBezTo>
                    <a:pt x="2559" y="1901"/>
                    <a:pt x="2756" y="2006"/>
                    <a:pt x="2759" y="2009"/>
                  </a:cubicBezTo>
                  <a:cubicBezTo>
                    <a:pt x="2763" y="2012"/>
                    <a:pt x="2776" y="2012"/>
                    <a:pt x="2788" y="2012"/>
                  </a:cubicBezTo>
                  <a:cubicBezTo>
                    <a:pt x="2800" y="2013"/>
                    <a:pt x="2861" y="2056"/>
                    <a:pt x="2873" y="2066"/>
                  </a:cubicBezTo>
                  <a:cubicBezTo>
                    <a:pt x="2884" y="2076"/>
                    <a:pt x="2917" y="2071"/>
                    <a:pt x="2917" y="2071"/>
                  </a:cubicBezTo>
                  <a:lnTo>
                    <a:pt x="2901" y="2008"/>
                  </a:lnTo>
                  <a:close/>
                  <a:moveTo>
                    <a:pt x="1914" y="2652"/>
                  </a:moveTo>
                  <a:cubicBezTo>
                    <a:pt x="1921" y="2650"/>
                    <a:pt x="1912" y="2635"/>
                    <a:pt x="1906" y="2641"/>
                  </a:cubicBezTo>
                  <a:cubicBezTo>
                    <a:pt x="1906" y="2641"/>
                    <a:pt x="1906" y="2654"/>
                    <a:pt x="1914" y="2652"/>
                  </a:cubicBezTo>
                  <a:close/>
                  <a:moveTo>
                    <a:pt x="2645" y="2978"/>
                  </a:moveTo>
                  <a:cubicBezTo>
                    <a:pt x="2633" y="2972"/>
                    <a:pt x="2619" y="2953"/>
                    <a:pt x="2601" y="2953"/>
                  </a:cubicBezTo>
                  <a:cubicBezTo>
                    <a:pt x="2584" y="2953"/>
                    <a:pt x="2586" y="2970"/>
                    <a:pt x="2562" y="2950"/>
                  </a:cubicBezTo>
                  <a:cubicBezTo>
                    <a:pt x="2539" y="2929"/>
                    <a:pt x="2504" y="2864"/>
                    <a:pt x="2503" y="2859"/>
                  </a:cubicBezTo>
                  <a:cubicBezTo>
                    <a:pt x="2501" y="2854"/>
                    <a:pt x="2473" y="2820"/>
                    <a:pt x="2487" y="2804"/>
                  </a:cubicBezTo>
                  <a:cubicBezTo>
                    <a:pt x="2501" y="2788"/>
                    <a:pt x="2531" y="2771"/>
                    <a:pt x="2542" y="2773"/>
                  </a:cubicBezTo>
                  <a:cubicBezTo>
                    <a:pt x="2553" y="2774"/>
                    <a:pt x="2587" y="2781"/>
                    <a:pt x="2587" y="2781"/>
                  </a:cubicBezTo>
                  <a:cubicBezTo>
                    <a:pt x="2587" y="2781"/>
                    <a:pt x="2551" y="2768"/>
                    <a:pt x="2525" y="2752"/>
                  </a:cubicBezTo>
                  <a:cubicBezTo>
                    <a:pt x="2498" y="2737"/>
                    <a:pt x="2440" y="2712"/>
                    <a:pt x="2426" y="2701"/>
                  </a:cubicBezTo>
                  <a:cubicBezTo>
                    <a:pt x="2412" y="2690"/>
                    <a:pt x="2370" y="2654"/>
                    <a:pt x="2357" y="2647"/>
                  </a:cubicBezTo>
                  <a:cubicBezTo>
                    <a:pt x="2344" y="2641"/>
                    <a:pt x="2338" y="2641"/>
                    <a:pt x="2338" y="2641"/>
                  </a:cubicBezTo>
                  <a:cubicBezTo>
                    <a:pt x="2316" y="2622"/>
                    <a:pt x="2316" y="2622"/>
                    <a:pt x="2316" y="2622"/>
                  </a:cubicBezTo>
                  <a:cubicBezTo>
                    <a:pt x="2304" y="2622"/>
                    <a:pt x="2304" y="2622"/>
                    <a:pt x="2304" y="2622"/>
                  </a:cubicBezTo>
                  <a:cubicBezTo>
                    <a:pt x="2269" y="2586"/>
                    <a:pt x="2269" y="2586"/>
                    <a:pt x="2269" y="2586"/>
                  </a:cubicBezTo>
                  <a:cubicBezTo>
                    <a:pt x="2271" y="2571"/>
                    <a:pt x="2271" y="2571"/>
                    <a:pt x="2271" y="2571"/>
                  </a:cubicBezTo>
                  <a:cubicBezTo>
                    <a:pt x="2175" y="2497"/>
                    <a:pt x="2175" y="2497"/>
                    <a:pt x="2175" y="2497"/>
                  </a:cubicBezTo>
                  <a:cubicBezTo>
                    <a:pt x="2158" y="2473"/>
                    <a:pt x="2158" y="2473"/>
                    <a:pt x="2158" y="2473"/>
                  </a:cubicBezTo>
                  <a:cubicBezTo>
                    <a:pt x="2128" y="2467"/>
                    <a:pt x="2128" y="2467"/>
                    <a:pt x="2128" y="2467"/>
                  </a:cubicBezTo>
                  <a:cubicBezTo>
                    <a:pt x="2127" y="2495"/>
                    <a:pt x="2127" y="2495"/>
                    <a:pt x="2127" y="2495"/>
                  </a:cubicBezTo>
                  <a:cubicBezTo>
                    <a:pt x="2127" y="2495"/>
                    <a:pt x="2149" y="2489"/>
                    <a:pt x="2160" y="2505"/>
                  </a:cubicBezTo>
                  <a:cubicBezTo>
                    <a:pt x="2171" y="2520"/>
                    <a:pt x="2174" y="2536"/>
                    <a:pt x="2174" y="2536"/>
                  </a:cubicBezTo>
                  <a:cubicBezTo>
                    <a:pt x="2178" y="2552"/>
                    <a:pt x="2178" y="2552"/>
                    <a:pt x="2178" y="2552"/>
                  </a:cubicBezTo>
                  <a:cubicBezTo>
                    <a:pt x="2164" y="2560"/>
                    <a:pt x="2164" y="2560"/>
                    <a:pt x="2164" y="2560"/>
                  </a:cubicBezTo>
                  <a:cubicBezTo>
                    <a:pt x="2158" y="2585"/>
                    <a:pt x="2158" y="2585"/>
                    <a:pt x="2158" y="2585"/>
                  </a:cubicBezTo>
                  <a:cubicBezTo>
                    <a:pt x="2158" y="2585"/>
                    <a:pt x="2203" y="2610"/>
                    <a:pt x="2210" y="2627"/>
                  </a:cubicBezTo>
                  <a:cubicBezTo>
                    <a:pt x="2216" y="2644"/>
                    <a:pt x="2218" y="2676"/>
                    <a:pt x="2232" y="2677"/>
                  </a:cubicBezTo>
                  <a:cubicBezTo>
                    <a:pt x="2246" y="2679"/>
                    <a:pt x="2313" y="2699"/>
                    <a:pt x="2316" y="2712"/>
                  </a:cubicBezTo>
                  <a:cubicBezTo>
                    <a:pt x="2319" y="2724"/>
                    <a:pt x="2332" y="2755"/>
                    <a:pt x="2338" y="2760"/>
                  </a:cubicBezTo>
                  <a:cubicBezTo>
                    <a:pt x="2344" y="2765"/>
                    <a:pt x="2388" y="2787"/>
                    <a:pt x="2401" y="2807"/>
                  </a:cubicBezTo>
                  <a:cubicBezTo>
                    <a:pt x="2413" y="2828"/>
                    <a:pt x="2462" y="2911"/>
                    <a:pt x="2462" y="2911"/>
                  </a:cubicBezTo>
                  <a:cubicBezTo>
                    <a:pt x="2498" y="2915"/>
                    <a:pt x="2498" y="2915"/>
                    <a:pt x="2498" y="2915"/>
                  </a:cubicBezTo>
                  <a:cubicBezTo>
                    <a:pt x="2498" y="2915"/>
                    <a:pt x="2517" y="2975"/>
                    <a:pt x="2539" y="2987"/>
                  </a:cubicBezTo>
                  <a:cubicBezTo>
                    <a:pt x="2561" y="3000"/>
                    <a:pt x="2581" y="3019"/>
                    <a:pt x="2581" y="3019"/>
                  </a:cubicBezTo>
                  <a:cubicBezTo>
                    <a:pt x="2581" y="3019"/>
                    <a:pt x="2576" y="3047"/>
                    <a:pt x="2603" y="3064"/>
                  </a:cubicBezTo>
                  <a:cubicBezTo>
                    <a:pt x="2630" y="3081"/>
                    <a:pt x="2666" y="3105"/>
                    <a:pt x="2663" y="3100"/>
                  </a:cubicBezTo>
                  <a:cubicBezTo>
                    <a:pt x="2659" y="3095"/>
                    <a:pt x="2622" y="3012"/>
                    <a:pt x="2622" y="3012"/>
                  </a:cubicBezTo>
                  <a:cubicBezTo>
                    <a:pt x="2622" y="3012"/>
                    <a:pt x="2634" y="3030"/>
                    <a:pt x="2650" y="3017"/>
                  </a:cubicBezTo>
                  <a:cubicBezTo>
                    <a:pt x="2666" y="3005"/>
                    <a:pt x="2675" y="2997"/>
                    <a:pt x="2675" y="2997"/>
                  </a:cubicBezTo>
                  <a:cubicBezTo>
                    <a:pt x="2705" y="3012"/>
                    <a:pt x="2705" y="3012"/>
                    <a:pt x="2705" y="3012"/>
                  </a:cubicBezTo>
                  <a:cubicBezTo>
                    <a:pt x="2670" y="2973"/>
                    <a:pt x="2670" y="2973"/>
                    <a:pt x="2670" y="2973"/>
                  </a:cubicBezTo>
                  <a:cubicBezTo>
                    <a:pt x="2670" y="2973"/>
                    <a:pt x="2658" y="2984"/>
                    <a:pt x="2645" y="2978"/>
                  </a:cubicBezTo>
                  <a:close/>
                  <a:moveTo>
                    <a:pt x="2091" y="1870"/>
                  </a:moveTo>
                  <a:cubicBezTo>
                    <a:pt x="2102" y="1873"/>
                    <a:pt x="2097" y="1851"/>
                    <a:pt x="2097" y="1851"/>
                  </a:cubicBezTo>
                  <a:cubicBezTo>
                    <a:pt x="2089" y="1850"/>
                    <a:pt x="2080" y="1867"/>
                    <a:pt x="2091" y="1870"/>
                  </a:cubicBezTo>
                  <a:close/>
                  <a:moveTo>
                    <a:pt x="1917" y="2697"/>
                  </a:moveTo>
                  <a:cubicBezTo>
                    <a:pt x="1918" y="2687"/>
                    <a:pt x="1926" y="2660"/>
                    <a:pt x="1917" y="2658"/>
                  </a:cubicBezTo>
                  <a:cubicBezTo>
                    <a:pt x="1917" y="2658"/>
                    <a:pt x="1899" y="2682"/>
                    <a:pt x="1899" y="2690"/>
                  </a:cubicBezTo>
                  <a:cubicBezTo>
                    <a:pt x="1899" y="2697"/>
                    <a:pt x="1915" y="2708"/>
                    <a:pt x="1917" y="2697"/>
                  </a:cubicBezTo>
                  <a:close/>
                  <a:moveTo>
                    <a:pt x="1868" y="2597"/>
                  </a:moveTo>
                  <a:cubicBezTo>
                    <a:pt x="1870" y="2633"/>
                    <a:pt x="1870" y="2633"/>
                    <a:pt x="1870" y="2633"/>
                  </a:cubicBezTo>
                  <a:cubicBezTo>
                    <a:pt x="1884" y="2629"/>
                    <a:pt x="1884" y="2629"/>
                    <a:pt x="1884" y="2629"/>
                  </a:cubicBezTo>
                  <a:cubicBezTo>
                    <a:pt x="1884" y="2629"/>
                    <a:pt x="1892" y="2641"/>
                    <a:pt x="1898" y="2638"/>
                  </a:cubicBezTo>
                  <a:cubicBezTo>
                    <a:pt x="1904" y="2635"/>
                    <a:pt x="1904" y="2607"/>
                    <a:pt x="1904" y="2607"/>
                  </a:cubicBezTo>
                  <a:cubicBezTo>
                    <a:pt x="1888" y="2594"/>
                    <a:pt x="1888" y="2594"/>
                    <a:pt x="1888" y="2594"/>
                  </a:cubicBezTo>
                  <a:lnTo>
                    <a:pt x="1868" y="2597"/>
                  </a:lnTo>
                  <a:close/>
                </a:path>
              </a:pathLst>
            </a:custGeom>
            <a:noFill/>
            <a:ln w="3175" cap="flat" cmpd="sng">
              <a:solidFill>
                <a:srgbClr val="585858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469" name="Freeform 220"/>
            <p:cNvSpPr>
              <a:spLocks noChangeAspect="1" noEditPoints="1"/>
            </p:cNvSpPr>
            <p:nvPr/>
          </p:nvSpPr>
          <p:spPr bwMode="auto">
            <a:xfrm>
              <a:off x="2069" y="1178"/>
              <a:ext cx="2064" cy="2349"/>
            </a:xfrm>
            <a:custGeom>
              <a:avLst/>
              <a:gdLst>
                <a:gd name="T0" fmla="*/ 1085 w 2836"/>
                <a:gd name="T1" fmla="*/ 174 h 3230"/>
                <a:gd name="T2" fmla="*/ 2760 w 2836"/>
                <a:gd name="T3" fmla="*/ 2526 h 3230"/>
                <a:gd name="T4" fmla="*/ 2761 w 2836"/>
                <a:gd name="T5" fmla="*/ 2285 h 3230"/>
                <a:gd name="T6" fmla="*/ 2565 w 2836"/>
                <a:gd name="T7" fmla="*/ 2159 h 3230"/>
                <a:gd name="T8" fmla="*/ 2443 w 2836"/>
                <a:gd name="T9" fmla="*/ 1978 h 3230"/>
                <a:gd name="T10" fmla="*/ 2219 w 2836"/>
                <a:gd name="T11" fmla="*/ 1972 h 3230"/>
                <a:gd name="T12" fmla="*/ 2133 w 2836"/>
                <a:gd name="T13" fmla="*/ 2070 h 3230"/>
                <a:gd name="T14" fmla="*/ 2000 w 2836"/>
                <a:gd name="T15" fmla="*/ 2059 h 3230"/>
                <a:gd name="T16" fmla="*/ 1911 w 2836"/>
                <a:gd name="T17" fmla="*/ 1830 h 3230"/>
                <a:gd name="T18" fmla="*/ 1757 w 2836"/>
                <a:gd name="T19" fmla="*/ 1674 h 3230"/>
                <a:gd name="T20" fmla="*/ 1695 w 2836"/>
                <a:gd name="T21" fmla="*/ 1516 h 3230"/>
                <a:gd name="T22" fmla="*/ 1682 w 2836"/>
                <a:gd name="T23" fmla="*/ 1167 h 3230"/>
                <a:gd name="T24" fmla="*/ 1741 w 2836"/>
                <a:gd name="T25" fmla="*/ 895 h 3230"/>
                <a:gd name="T26" fmla="*/ 1662 w 2836"/>
                <a:gd name="T27" fmla="*/ 750 h 3230"/>
                <a:gd name="T28" fmla="*/ 1532 w 2836"/>
                <a:gd name="T29" fmla="*/ 826 h 3230"/>
                <a:gd name="T30" fmla="*/ 1656 w 2836"/>
                <a:gd name="T31" fmla="*/ 618 h 3230"/>
                <a:gd name="T32" fmla="*/ 1611 w 2836"/>
                <a:gd name="T33" fmla="*/ 442 h 3230"/>
                <a:gd name="T34" fmla="*/ 1455 w 2836"/>
                <a:gd name="T35" fmla="*/ 435 h 3230"/>
                <a:gd name="T36" fmla="*/ 1345 w 2836"/>
                <a:gd name="T37" fmla="*/ 433 h 3230"/>
                <a:gd name="T38" fmla="*/ 1263 w 2836"/>
                <a:gd name="T39" fmla="*/ 584 h 3230"/>
                <a:gd name="T40" fmla="*/ 1157 w 2836"/>
                <a:gd name="T41" fmla="*/ 606 h 3230"/>
                <a:gd name="T42" fmla="*/ 984 w 2836"/>
                <a:gd name="T43" fmla="*/ 717 h 3230"/>
                <a:gd name="T44" fmla="*/ 926 w 2836"/>
                <a:gd name="T45" fmla="*/ 829 h 3230"/>
                <a:gd name="T46" fmla="*/ 779 w 2836"/>
                <a:gd name="T47" fmla="*/ 934 h 3230"/>
                <a:gd name="T48" fmla="*/ 712 w 2836"/>
                <a:gd name="T49" fmla="*/ 950 h 3230"/>
                <a:gd name="T50" fmla="*/ 740 w 2836"/>
                <a:gd name="T51" fmla="*/ 1138 h 3230"/>
                <a:gd name="T52" fmla="*/ 796 w 2836"/>
                <a:gd name="T53" fmla="*/ 1284 h 3230"/>
                <a:gd name="T54" fmla="*/ 765 w 2836"/>
                <a:gd name="T55" fmla="*/ 1471 h 3230"/>
                <a:gd name="T56" fmla="*/ 866 w 2836"/>
                <a:gd name="T57" fmla="*/ 1723 h 3230"/>
                <a:gd name="T58" fmla="*/ 814 w 2836"/>
                <a:gd name="T59" fmla="*/ 1999 h 3230"/>
                <a:gd name="T60" fmla="*/ 689 w 2836"/>
                <a:gd name="T61" fmla="*/ 2117 h 3230"/>
                <a:gd name="T62" fmla="*/ 449 w 2836"/>
                <a:gd name="T63" fmla="*/ 2077 h 3230"/>
                <a:gd name="T64" fmla="*/ 188 w 2836"/>
                <a:gd name="T65" fmla="*/ 2280 h 3230"/>
                <a:gd name="T66" fmla="*/ 69 w 2836"/>
                <a:gd name="T67" fmla="*/ 2320 h 3230"/>
                <a:gd name="T68" fmla="*/ 22 w 2836"/>
                <a:gd name="T69" fmla="*/ 2504 h 3230"/>
                <a:gd name="T70" fmla="*/ 151 w 2836"/>
                <a:gd name="T71" fmla="*/ 2660 h 3230"/>
                <a:gd name="T72" fmla="*/ 268 w 2836"/>
                <a:gd name="T73" fmla="*/ 2674 h 3230"/>
                <a:gd name="T74" fmla="*/ 510 w 2836"/>
                <a:gd name="T75" fmla="*/ 2993 h 3230"/>
                <a:gd name="T76" fmla="*/ 764 w 2836"/>
                <a:gd name="T77" fmla="*/ 3178 h 3230"/>
                <a:gd name="T78" fmla="*/ 1104 w 2836"/>
                <a:gd name="T79" fmla="*/ 3114 h 3230"/>
                <a:gd name="T80" fmla="*/ 1324 w 2836"/>
                <a:gd name="T81" fmla="*/ 3090 h 3230"/>
                <a:gd name="T82" fmla="*/ 1554 w 2836"/>
                <a:gd name="T83" fmla="*/ 3124 h 3230"/>
                <a:gd name="T84" fmla="*/ 1728 w 2836"/>
                <a:gd name="T85" fmla="*/ 2951 h 3230"/>
                <a:gd name="T86" fmla="*/ 2163 w 2836"/>
                <a:gd name="T87" fmla="*/ 3027 h 3230"/>
                <a:gd name="T88" fmla="*/ 2515 w 2836"/>
                <a:gd name="T89" fmla="*/ 2879 h 3230"/>
                <a:gd name="T90" fmla="*/ 2801 w 2836"/>
                <a:gd name="T91" fmla="*/ 2741 h 3230"/>
                <a:gd name="T92" fmla="*/ 2037 w 2836"/>
                <a:gd name="T93" fmla="*/ 2805 h 3230"/>
                <a:gd name="T94" fmla="*/ 2024 w 2836"/>
                <a:gd name="T95" fmla="*/ 2740 h 3230"/>
                <a:gd name="T96" fmla="*/ 2128 w 2836"/>
                <a:gd name="T97" fmla="*/ 2581 h 3230"/>
                <a:gd name="T98" fmla="*/ 1455 w 2836"/>
                <a:gd name="T99" fmla="*/ 308 h 3230"/>
                <a:gd name="T100" fmla="*/ 1346 w 2836"/>
                <a:gd name="T101" fmla="*/ 228 h 3230"/>
                <a:gd name="T102" fmla="*/ 1158 w 2836"/>
                <a:gd name="T103" fmla="*/ 155 h 3230"/>
                <a:gd name="T104" fmla="*/ 1226 w 2836"/>
                <a:gd name="T105" fmla="*/ 283 h 3230"/>
                <a:gd name="T106" fmla="*/ 1158 w 2836"/>
                <a:gd name="T107" fmla="*/ 155 h 3230"/>
                <a:gd name="T108" fmla="*/ 1158 w 2836"/>
                <a:gd name="T109" fmla="*/ 12 h 3230"/>
                <a:gd name="T110" fmla="*/ 745 w 2836"/>
                <a:gd name="T111" fmla="*/ 872 h 3230"/>
                <a:gd name="T112" fmla="*/ 1671 w 2836"/>
                <a:gd name="T113" fmla="*/ 702 h 3230"/>
                <a:gd name="T114" fmla="*/ 850 w 2836"/>
                <a:gd name="T115" fmla="*/ 778 h 3230"/>
                <a:gd name="T116" fmla="*/ 876 w 2836"/>
                <a:gd name="T117" fmla="*/ 37 h 32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6"/>
                <a:gd name="T178" fmla="*/ 0 h 3230"/>
                <a:gd name="T179" fmla="*/ 2836 w 2836"/>
                <a:gd name="T180" fmla="*/ 3230 h 323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6" h="3230">
                  <a:moveTo>
                    <a:pt x="1221" y="481"/>
                  </a:moveTo>
                  <a:cubicBezTo>
                    <a:pt x="1221" y="470"/>
                    <a:pt x="1218" y="457"/>
                    <a:pt x="1218" y="457"/>
                  </a:cubicBezTo>
                  <a:cubicBezTo>
                    <a:pt x="1218" y="457"/>
                    <a:pt x="1213" y="482"/>
                    <a:pt x="1198" y="481"/>
                  </a:cubicBezTo>
                  <a:cubicBezTo>
                    <a:pt x="1198" y="481"/>
                    <a:pt x="1221" y="492"/>
                    <a:pt x="1221" y="481"/>
                  </a:cubicBezTo>
                  <a:close/>
                  <a:moveTo>
                    <a:pt x="1143" y="169"/>
                  </a:moveTo>
                  <a:cubicBezTo>
                    <a:pt x="1127" y="153"/>
                    <a:pt x="1119" y="155"/>
                    <a:pt x="1107" y="155"/>
                  </a:cubicBezTo>
                  <a:cubicBezTo>
                    <a:pt x="1094" y="155"/>
                    <a:pt x="1083" y="156"/>
                    <a:pt x="1083" y="156"/>
                  </a:cubicBezTo>
                  <a:cubicBezTo>
                    <a:pt x="1085" y="174"/>
                    <a:pt x="1085" y="174"/>
                    <a:pt x="1085" y="174"/>
                  </a:cubicBezTo>
                  <a:cubicBezTo>
                    <a:pt x="1124" y="194"/>
                    <a:pt x="1124" y="194"/>
                    <a:pt x="1124" y="194"/>
                  </a:cubicBezTo>
                  <a:cubicBezTo>
                    <a:pt x="1124" y="194"/>
                    <a:pt x="1158" y="185"/>
                    <a:pt x="1143" y="169"/>
                  </a:cubicBezTo>
                  <a:close/>
                  <a:moveTo>
                    <a:pt x="2801" y="2741"/>
                  </a:moveTo>
                  <a:cubicBezTo>
                    <a:pt x="2787" y="2732"/>
                    <a:pt x="2804" y="2621"/>
                    <a:pt x="2804" y="2621"/>
                  </a:cubicBezTo>
                  <a:cubicBezTo>
                    <a:pt x="2804" y="2621"/>
                    <a:pt x="2822" y="2581"/>
                    <a:pt x="2822" y="2562"/>
                  </a:cubicBezTo>
                  <a:cubicBezTo>
                    <a:pt x="2822" y="2543"/>
                    <a:pt x="2801" y="2548"/>
                    <a:pt x="2801" y="2548"/>
                  </a:cubicBezTo>
                  <a:cubicBezTo>
                    <a:pt x="2801" y="2548"/>
                    <a:pt x="2802" y="2531"/>
                    <a:pt x="2799" y="2523"/>
                  </a:cubicBezTo>
                  <a:cubicBezTo>
                    <a:pt x="2797" y="2515"/>
                    <a:pt x="2760" y="2526"/>
                    <a:pt x="2760" y="2526"/>
                  </a:cubicBezTo>
                  <a:cubicBezTo>
                    <a:pt x="2775" y="2464"/>
                    <a:pt x="2775" y="2464"/>
                    <a:pt x="2775" y="2464"/>
                  </a:cubicBezTo>
                  <a:cubicBezTo>
                    <a:pt x="2775" y="2464"/>
                    <a:pt x="2810" y="2437"/>
                    <a:pt x="2836" y="2417"/>
                  </a:cubicBezTo>
                  <a:cubicBezTo>
                    <a:pt x="2819" y="2400"/>
                    <a:pt x="2795" y="2376"/>
                    <a:pt x="2793" y="2376"/>
                  </a:cubicBezTo>
                  <a:cubicBezTo>
                    <a:pt x="2790" y="2376"/>
                    <a:pt x="2786" y="2359"/>
                    <a:pt x="2786" y="2359"/>
                  </a:cubicBezTo>
                  <a:cubicBezTo>
                    <a:pt x="2786" y="2359"/>
                    <a:pt x="2772" y="2345"/>
                    <a:pt x="2772" y="2343"/>
                  </a:cubicBezTo>
                  <a:cubicBezTo>
                    <a:pt x="2772" y="2340"/>
                    <a:pt x="2790" y="2325"/>
                    <a:pt x="2791" y="2323"/>
                  </a:cubicBezTo>
                  <a:cubicBezTo>
                    <a:pt x="2791" y="2321"/>
                    <a:pt x="2755" y="2305"/>
                    <a:pt x="2755" y="2305"/>
                  </a:cubicBezTo>
                  <a:cubicBezTo>
                    <a:pt x="2755" y="2305"/>
                    <a:pt x="2755" y="2302"/>
                    <a:pt x="2761" y="2285"/>
                  </a:cubicBezTo>
                  <a:cubicBezTo>
                    <a:pt x="2767" y="2267"/>
                    <a:pt x="2730" y="2231"/>
                    <a:pt x="2730" y="2231"/>
                  </a:cubicBezTo>
                  <a:cubicBezTo>
                    <a:pt x="2730" y="2231"/>
                    <a:pt x="2714" y="2247"/>
                    <a:pt x="2708" y="2247"/>
                  </a:cubicBezTo>
                  <a:cubicBezTo>
                    <a:pt x="2702" y="2247"/>
                    <a:pt x="2696" y="2225"/>
                    <a:pt x="2685" y="2211"/>
                  </a:cubicBezTo>
                  <a:cubicBezTo>
                    <a:pt x="2674" y="2198"/>
                    <a:pt x="2641" y="2244"/>
                    <a:pt x="2641" y="2244"/>
                  </a:cubicBezTo>
                  <a:cubicBezTo>
                    <a:pt x="2641" y="2244"/>
                    <a:pt x="2626" y="2231"/>
                    <a:pt x="2623" y="2224"/>
                  </a:cubicBezTo>
                  <a:cubicBezTo>
                    <a:pt x="2620" y="2217"/>
                    <a:pt x="2639" y="2203"/>
                    <a:pt x="2639" y="2203"/>
                  </a:cubicBezTo>
                  <a:cubicBezTo>
                    <a:pt x="2639" y="2203"/>
                    <a:pt x="2589" y="2188"/>
                    <a:pt x="2581" y="2171"/>
                  </a:cubicBezTo>
                  <a:cubicBezTo>
                    <a:pt x="2573" y="2154"/>
                    <a:pt x="2565" y="2159"/>
                    <a:pt x="2565" y="2159"/>
                  </a:cubicBezTo>
                  <a:cubicBezTo>
                    <a:pt x="2535" y="2115"/>
                    <a:pt x="2535" y="2115"/>
                    <a:pt x="2535" y="2115"/>
                  </a:cubicBezTo>
                  <a:cubicBezTo>
                    <a:pt x="2535" y="2115"/>
                    <a:pt x="2525" y="2122"/>
                    <a:pt x="2523" y="2122"/>
                  </a:cubicBezTo>
                  <a:cubicBezTo>
                    <a:pt x="2521" y="2122"/>
                    <a:pt x="2508" y="2097"/>
                    <a:pt x="2505" y="2077"/>
                  </a:cubicBezTo>
                  <a:cubicBezTo>
                    <a:pt x="2502" y="2057"/>
                    <a:pt x="2486" y="2041"/>
                    <a:pt x="2486" y="2041"/>
                  </a:cubicBezTo>
                  <a:cubicBezTo>
                    <a:pt x="2469" y="2036"/>
                    <a:pt x="2469" y="2036"/>
                    <a:pt x="2469" y="2036"/>
                  </a:cubicBezTo>
                  <a:cubicBezTo>
                    <a:pt x="2455" y="1999"/>
                    <a:pt x="2455" y="1999"/>
                    <a:pt x="2455" y="1999"/>
                  </a:cubicBezTo>
                  <a:cubicBezTo>
                    <a:pt x="2443" y="1997"/>
                    <a:pt x="2443" y="1997"/>
                    <a:pt x="2443" y="1997"/>
                  </a:cubicBezTo>
                  <a:cubicBezTo>
                    <a:pt x="2443" y="1997"/>
                    <a:pt x="2443" y="1980"/>
                    <a:pt x="2443" y="1978"/>
                  </a:cubicBezTo>
                  <a:cubicBezTo>
                    <a:pt x="2443" y="1975"/>
                    <a:pt x="2404" y="1959"/>
                    <a:pt x="2404" y="1959"/>
                  </a:cubicBezTo>
                  <a:cubicBezTo>
                    <a:pt x="2404" y="1959"/>
                    <a:pt x="2370" y="1988"/>
                    <a:pt x="2365" y="1991"/>
                  </a:cubicBezTo>
                  <a:cubicBezTo>
                    <a:pt x="2359" y="1993"/>
                    <a:pt x="2352" y="1968"/>
                    <a:pt x="2354" y="1965"/>
                  </a:cubicBezTo>
                  <a:cubicBezTo>
                    <a:pt x="2355" y="1963"/>
                    <a:pt x="2344" y="1958"/>
                    <a:pt x="2344" y="1958"/>
                  </a:cubicBezTo>
                  <a:cubicBezTo>
                    <a:pt x="2342" y="1943"/>
                    <a:pt x="2342" y="1943"/>
                    <a:pt x="2342" y="1943"/>
                  </a:cubicBezTo>
                  <a:cubicBezTo>
                    <a:pt x="2342" y="1943"/>
                    <a:pt x="2276" y="1921"/>
                    <a:pt x="2258" y="1923"/>
                  </a:cubicBezTo>
                  <a:cubicBezTo>
                    <a:pt x="2239" y="1925"/>
                    <a:pt x="2230" y="1962"/>
                    <a:pt x="2230" y="1965"/>
                  </a:cubicBezTo>
                  <a:cubicBezTo>
                    <a:pt x="2229" y="1968"/>
                    <a:pt x="2226" y="1966"/>
                    <a:pt x="2219" y="1972"/>
                  </a:cubicBezTo>
                  <a:cubicBezTo>
                    <a:pt x="2212" y="1978"/>
                    <a:pt x="2223" y="1987"/>
                    <a:pt x="2223" y="1990"/>
                  </a:cubicBezTo>
                  <a:cubicBezTo>
                    <a:pt x="2224" y="1993"/>
                    <a:pt x="2215" y="2006"/>
                    <a:pt x="2214" y="2011"/>
                  </a:cubicBezTo>
                  <a:cubicBezTo>
                    <a:pt x="2213" y="2017"/>
                    <a:pt x="2200" y="2031"/>
                    <a:pt x="2191" y="2041"/>
                  </a:cubicBezTo>
                  <a:cubicBezTo>
                    <a:pt x="2182" y="2051"/>
                    <a:pt x="2198" y="2071"/>
                    <a:pt x="2199" y="2073"/>
                  </a:cubicBezTo>
                  <a:cubicBezTo>
                    <a:pt x="2200" y="2075"/>
                    <a:pt x="2192" y="2082"/>
                    <a:pt x="2176" y="2089"/>
                  </a:cubicBezTo>
                  <a:cubicBezTo>
                    <a:pt x="2160" y="2096"/>
                    <a:pt x="2167" y="2113"/>
                    <a:pt x="2165" y="2116"/>
                  </a:cubicBezTo>
                  <a:cubicBezTo>
                    <a:pt x="2164" y="2119"/>
                    <a:pt x="2151" y="2084"/>
                    <a:pt x="2151" y="2084"/>
                  </a:cubicBezTo>
                  <a:cubicBezTo>
                    <a:pt x="2151" y="2084"/>
                    <a:pt x="2137" y="2069"/>
                    <a:pt x="2133" y="2070"/>
                  </a:cubicBezTo>
                  <a:cubicBezTo>
                    <a:pt x="2129" y="2071"/>
                    <a:pt x="2124" y="2085"/>
                    <a:pt x="2120" y="2098"/>
                  </a:cubicBezTo>
                  <a:cubicBezTo>
                    <a:pt x="2116" y="2111"/>
                    <a:pt x="2073" y="2113"/>
                    <a:pt x="2066" y="2114"/>
                  </a:cubicBezTo>
                  <a:cubicBezTo>
                    <a:pt x="2058" y="2115"/>
                    <a:pt x="2065" y="2132"/>
                    <a:pt x="2065" y="2132"/>
                  </a:cubicBezTo>
                  <a:cubicBezTo>
                    <a:pt x="2065" y="2132"/>
                    <a:pt x="2045" y="2147"/>
                    <a:pt x="2035" y="2147"/>
                  </a:cubicBezTo>
                  <a:cubicBezTo>
                    <a:pt x="2024" y="2147"/>
                    <a:pt x="2001" y="2128"/>
                    <a:pt x="1993" y="2120"/>
                  </a:cubicBezTo>
                  <a:cubicBezTo>
                    <a:pt x="1985" y="2111"/>
                    <a:pt x="2002" y="2097"/>
                    <a:pt x="2005" y="2097"/>
                  </a:cubicBezTo>
                  <a:cubicBezTo>
                    <a:pt x="2007" y="2097"/>
                    <a:pt x="1993" y="2082"/>
                    <a:pt x="1993" y="2082"/>
                  </a:cubicBezTo>
                  <a:cubicBezTo>
                    <a:pt x="1993" y="2082"/>
                    <a:pt x="1999" y="2064"/>
                    <a:pt x="2000" y="2059"/>
                  </a:cubicBezTo>
                  <a:cubicBezTo>
                    <a:pt x="2002" y="2054"/>
                    <a:pt x="1991" y="2039"/>
                    <a:pt x="1991" y="2037"/>
                  </a:cubicBezTo>
                  <a:cubicBezTo>
                    <a:pt x="1991" y="2035"/>
                    <a:pt x="1992" y="2026"/>
                    <a:pt x="2000" y="2005"/>
                  </a:cubicBezTo>
                  <a:cubicBezTo>
                    <a:pt x="2007" y="1983"/>
                    <a:pt x="2005" y="1945"/>
                    <a:pt x="2005" y="1945"/>
                  </a:cubicBezTo>
                  <a:cubicBezTo>
                    <a:pt x="1966" y="1932"/>
                    <a:pt x="1966" y="1932"/>
                    <a:pt x="1966" y="1932"/>
                  </a:cubicBezTo>
                  <a:cubicBezTo>
                    <a:pt x="1966" y="1932"/>
                    <a:pt x="1967" y="1924"/>
                    <a:pt x="1967" y="1920"/>
                  </a:cubicBezTo>
                  <a:cubicBezTo>
                    <a:pt x="1968" y="1917"/>
                    <a:pt x="1946" y="1897"/>
                    <a:pt x="1944" y="1887"/>
                  </a:cubicBezTo>
                  <a:cubicBezTo>
                    <a:pt x="1942" y="1876"/>
                    <a:pt x="1960" y="1855"/>
                    <a:pt x="1951" y="1842"/>
                  </a:cubicBezTo>
                  <a:cubicBezTo>
                    <a:pt x="1941" y="1829"/>
                    <a:pt x="1924" y="1841"/>
                    <a:pt x="1911" y="1830"/>
                  </a:cubicBezTo>
                  <a:cubicBezTo>
                    <a:pt x="1899" y="1818"/>
                    <a:pt x="1921" y="1803"/>
                    <a:pt x="1921" y="1803"/>
                  </a:cubicBezTo>
                  <a:cubicBezTo>
                    <a:pt x="1921" y="1803"/>
                    <a:pt x="1893" y="1753"/>
                    <a:pt x="1882" y="1742"/>
                  </a:cubicBezTo>
                  <a:cubicBezTo>
                    <a:pt x="1870" y="1732"/>
                    <a:pt x="1838" y="1750"/>
                    <a:pt x="1838" y="1750"/>
                  </a:cubicBezTo>
                  <a:cubicBezTo>
                    <a:pt x="1838" y="1750"/>
                    <a:pt x="1838" y="1732"/>
                    <a:pt x="1837" y="1722"/>
                  </a:cubicBezTo>
                  <a:cubicBezTo>
                    <a:pt x="1837" y="1712"/>
                    <a:pt x="1856" y="1710"/>
                    <a:pt x="1856" y="1710"/>
                  </a:cubicBezTo>
                  <a:cubicBezTo>
                    <a:pt x="1832" y="1670"/>
                    <a:pt x="1832" y="1670"/>
                    <a:pt x="1832" y="1670"/>
                  </a:cubicBezTo>
                  <a:cubicBezTo>
                    <a:pt x="1832" y="1670"/>
                    <a:pt x="1832" y="1688"/>
                    <a:pt x="1804" y="1687"/>
                  </a:cubicBezTo>
                  <a:cubicBezTo>
                    <a:pt x="1777" y="1686"/>
                    <a:pt x="1765" y="1679"/>
                    <a:pt x="1757" y="1674"/>
                  </a:cubicBezTo>
                  <a:cubicBezTo>
                    <a:pt x="1749" y="1670"/>
                    <a:pt x="1748" y="1687"/>
                    <a:pt x="1744" y="1689"/>
                  </a:cubicBezTo>
                  <a:cubicBezTo>
                    <a:pt x="1739" y="1690"/>
                    <a:pt x="1721" y="1682"/>
                    <a:pt x="1718" y="1677"/>
                  </a:cubicBezTo>
                  <a:cubicBezTo>
                    <a:pt x="1714" y="1672"/>
                    <a:pt x="1726" y="1645"/>
                    <a:pt x="1726" y="1645"/>
                  </a:cubicBezTo>
                  <a:cubicBezTo>
                    <a:pt x="1716" y="1633"/>
                    <a:pt x="1716" y="1633"/>
                    <a:pt x="1716" y="1633"/>
                  </a:cubicBezTo>
                  <a:cubicBezTo>
                    <a:pt x="1746" y="1582"/>
                    <a:pt x="1746" y="1582"/>
                    <a:pt x="1746" y="1582"/>
                  </a:cubicBezTo>
                  <a:cubicBezTo>
                    <a:pt x="1746" y="1582"/>
                    <a:pt x="1730" y="1567"/>
                    <a:pt x="1720" y="1563"/>
                  </a:cubicBezTo>
                  <a:cubicBezTo>
                    <a:pt x="1710" y="1558"/>
                    <a:pt x="1714" y="1538"/>
                    <a:pt x="1716" y="1528"/>
                  </a:cubicBezTo>
                  <a:cubicBezTo>
                    <a:pt x="1718" y="1518"/>
                    <a:pt x="1708" y="1523"/>
                    <a:pt x="1695" y="1516"/>
                  </a:cubicBezTo>
                  <a:cubicBezTo>
                    <a:pt x="1682" y="1510"/>
                    <a:pt x="1694" y="1483"/>
                    <a:pt x="1694" y="1466"/>
                  </a:cubicBezTo>
                  <a:cubicBezTo>
                    <a:pt x="1694" y="1449"/>
                    <a:pt x="1662" y="1444"/>
                    <a:pt x="1661" y="1444"/>
                  </a:cubicBezTo>
                  <a:cubicBezTo>
                    <a:pt x="1659" y="1444"/>
                    <a:pt x="1693" y="1409"/>
                    <a:pt x="1702" y="1401"/>
                  </a:cubicBezTo>
                  <a:cubicBezTo>
                    <a:pt x="1712" y="1392"/>
                    <a:pt x="1667" y="1248"/>
                    <a:pt x="1667" y="1248"/>
                  </a:cubicBezTo>
                  <a:cubicBezTo>
                    <a:pt x="1614" y="1206"/>
                    <a:pt x="1614" y="1206"/>
                    <a:pt x="1614" y="1206"/>
                  </a:cubicBezTo>
                  <a:cubicBezTo>
                    <a:pt x="1630" y="1193"/>
                    <a:pt x="1630" y="1193"/>
                    <a:pt x="1630" y="1193"/>
                  </a:cubicBezTo>
                  <a:cubicBezTo>
                    <a:pt x="1643" y="1193"/>
                    <a:pt x="1643" y="1193"/>
                    <a:pt x="1643" y="1193"/>
                  </a:cubicBezTo>
                  <a:cubicBezTo>
                    <a:pt x="1682" y="1167"/>
                    <a:pt x="1682" y="1167"/>
                    <a:pt x="1682" y="1167"/>
                  </a:cubicBezTo>
                  <a:cubicBezTo>
                    <a:pt x="1682" y="1167"/>
                    <a:pt x="1684" y="1150"/>
                    <a:pt x="1690" y="1144"/>
                  </a:cubicBezTo>
                  <a:cubicBezTo>
                    <a:pt x="1696" y="1138"/>
                    <a:pt x="1707" y="1147"/>
                    <a:pt x="1720" y="1145"/>
                  </a:cubicBezTo>
                  <a:cubicBezTo>
                    <a:pt x="1734" y="1143"/>
                    <a:pt x="1721" y="1110"/>
                    <a:pt x="1715" y="1102"/>
                  </a:cubicBezTo>
                  <a:cubicBezTo>
                    <a:pt x="1709" y="1093"/>
                    <a:pt x="1738" y="1075"/>
                    <a:pt x="1738" y="1075"/>
                  </a:cubicBezTo>
                  <a:cubicBezTo>
                    <a:pt x="1738" y="1075"/>
                    <a:pt x="1728" y="1051"/>
                    <a:pt x="1728" y="1049"/>
                  </a:cubicBezTo>
                  <a:cubicBezTo>
                    <a:pt x="1727" y="1047"/>
                    <a:pt x="1787" y="988"/>
                    <a:pt x="1794" y="974"/>
                  </a:cubicBezTo>
                  <a:cubicBezTo>
                    <a:pt x="1800" y="960"/>
                    <a:pt x="1777" y="963"/>
                    <a:pt x="1762" y="956"/>
                  </a:cubicBezTo>
                  <a:cubicBezTo>
                    <a:pt x="1746" y="950"/>
                    <a:pt x="1742" y="899"/>
                    <a:pt x="1741" y="895"/>
                  </a:cubicBezTo>
                  <a:cubicBezTo>
                    <a:pt x="1739" y="892"/>
                    <a:pt x="1710" y="878"/>
                    <a:pt x="1710" y="878"/>
                  </a:cubicBezTo>
                  <a:cubicBezTo>
                    <a:pt x="1706" y="860"/>
                    <a:pt x="1706" y="860"/>
                    <a:pt x="1706" y="860"/>
                  </a:cubicBezTo>
                  <a:cubicBezTo>
                    <a:pt x="1706" y="860"/>
                    <a:pt x="1694" y="852"/>
                    <a:pt x="1683" y="843"/>
                  </a:cubicBezTo>
                  <a:cubicBezTo>
                    <a:pt x="1672" y="835"/>
                    <a:pt x="1677" y="803"/>
                    <a:pt x="1677" y="803"/>
                  </a:cubicBezTo>
                  <a:cubicBezTo>
                    <a:pt x="1656" y="785"/>
                    <a:pt x="1656" y="785"/>
                    <a:pt x="1656" y="785"/>
                  </a:cubicBezTo>
                  <a:cubicBezTo>
                    <a:pt x="1672" y="755"/>
                    <a:pt x="1672" y="755"/>
                    <a:pt x="1672" y="755"/>
                  </a:cubicBezTo>
                  <a:cubicBezTo>
                    <a:pt x="1664" y="747"/>
                    <a:pt x="1664" y="747"/>
                    <a:pt x="1664" y="747"/>
                  </a:cubicBezTo>
                  <a:cubicBezTo>
                    <a:pt x="1663" y="748"/>
                    <a:pt x="1662" y="749"/>
                    <a:pt x="1662" y="750"/>
                  </a:cubicBezTo>
                  <a:cubicBezTo>
                    <a:pt x="1656" y="755"/>
                    <a:pt x="1643" y="782"/>
                    <a:pt x="1643" y="782"/>
                  </a:cubicBezTo>
                  <a:cubicBezTo>
                    <a:pt x="1643" y="782"/>
                    <a:pt x="1625" y="779"/>
                    <a:pt x="1624" y="782"/>
                  </a:cubicBezTo>
                  <a:cubicBezTo>
                    <a:pt x="1624" y="786"/>
                    <a:pt x="1582" y="824"/>
                    <a:pt x="1582" y="824"/>
                  </a:cubicBezTo>
                  <a:cubicBezTo>
                    <a:pt x="1551" y="831"/>
                    <a:pt x="1551" y="831"/>
                    <a:pt x="1551" y="831"/>
                  </a:cubicBezTo>
                  <a:cubicBezTo>
                    <a:pt x="1551" y="831"/>
                    <a:pt x="1550" y="853"/>
                    <a:pt x="1547" y="873"/>
                  </a:cubicBezTo>
                  <a:cubicBezTo>
                    <a:pt x="1544" y="892"/>
                    <a:pt x="1517" y="887"/>
                    <a:pt x="1516" y="887"/>
                  </a:cubicBezTo>
                  <a:cubicBezTo>
                    <a:pt x="1515" y="887"/>
                    <a:pt x="1514" y="882"/>
                    <a:pt x="1526" y="867"/>
                  </a:cubicBezTo>
                  <a:cubicBezTo>
                    <a:pt x="1539" y="852"/>
                    <a:pt x="1532" y="826"/>
                    <a:pt x="1532" y="826"/>
                  </a:cubicBezTo>
                  <a:cubicBezTo>
                    <a:pt x="1552" y="815"/>
                    <a:pt x="1552" y="815"/>
                    <a:pt x="1552" y="815"/>
                  </a:cubicBezTo>
                  <a:cubicBezTo>
                    <a:pt x="1552" y="815"/>
                    <a:pt x="1552" y="796"/>
                    <a:pt x="1557" y="790"/>
                  </a:cubicBezTo>
                  <a:cubicBezTo>
                    <a:pt x="1562" y="783"/>
                    <a:pt x="1574" y="779"/>
                    <a:pt x="1583" y="773"/>
                  </a:cubicBezTo>
                  <a:cubicBezTo>
                    <a:pt x="1592" y="767"/>
                    <a:pt x="1593" y="750"/>
                    <a:pt x="1594" y="736"/>
                  </a:cubicBezTo>
                  <a:cubicBezTo>
                    <a:pt x="1594" y="722"/>
                    <a:pt x="1616" y="704"/>
                    <a:pt x="1617" y="703"/>
                  </a:cubicBezTo>
                  <a:cubicBezTo>
                    <a:pt x="1617" y="702"/>
                    <a:pt x="1609" y="687"/>
                    <a:pt x="1609" y="687"/>
                  </a:cubicBezTo>
                  <a:cubicBezTo>
                    <a:pt x="1609" y="687"/>
                    <a:pt x="1645" y="652"/>
                    <a:pt x="1653" y="642"/>
                  </a:cubicBezTo>
                  <a:cubicBezTo>
                    <a:pt x="1661" y="633"/>
                    <a:pt x="1656" y="618"/>
                    <a:pt x="1656" y="618"/>
                  </a:cubicBezTo>
                  <a:cubicBezTo>
                    <a:pt x="1656" y="618"/>
                    <a:pt x="1662" y="616"/>
                    <a:pt x="1670" y="608"/>
                  </a:cubicBezTo>
                  <a:cubicBezTo>
                    <a:pt x="1677" y="600"/>
                    <a:pt x="1678" y="573"/>
                    <a:pt x="1681" y="558"/>
                  </a:cubicBezTo>
                  <a:cubicBezTo>
                    <a:pt x="1684" y="543"/>
                    <a:pt x="1647" y="532"/>
                    <a:pt x="1645" y="530"/>
                  </a:cubicBezTo>
                  <a:cubicBezTo>
                    <a:pt x="1643" y="528"/>
                    <a:pt x="1662" y="537"/>
                    <a:pt x="1667" y="534"/>
                  </a:cubicBezTo>
                  <a:cubicBezTo>
                    <a:pt x="1673" y="530"/>
                    <a:pt x="1674" y="511"/>
                    <a:pt x="1674" y="511"/>
                  </a:cubicBezTo>
                  <a:cubicBezTo>
                    <a:pt x="1645" y="478"/>
                    <a:pt x="1645" y="478"/>
                    <a:pt x="1645" y="478"/>
                  </a:cubicBezTo>
                  <a:cubicBezTo>
                    <a:pt x="1645" y="478"/>
                    <a:pt x="1631" y="474"/>
                    <a:pt x="1625" y="468"/>
                  </a:cubicBezTo>
                  <a:cubicBezTo>
                    <a:pt x="1619" y="461"/>
                    <a:pt x="1618" y="449"/>
                    <a:pt x="1611" y="442"/>
                  </a:cubicBezTo>
                  <a:cubicBezTo>
                    <a:pt x="1604" y="435"/>
                    <a:pt x="1599" y="450"/>
                    <a:pt x="1597" y="451"/>
                  </a:cubicBezTo>
                  <a:cubicBezTo>
                    <a:pt x="1595" y="452"/>
                    <a:pt x="1583" y="437"/>
                    <a:pt x="1573" y="435"/>
                  </a:cubicBezTo>
                  <a:cubicBezTo>
                    <a:pt x="1562" y="434"/>
                    <a:pt x="1561" y="447"/>
                    <a:pt x="1542" y="452"/>
                  </a:cubicBezTo>
                  <a:cubicBezTo>
                    <a:pt x="1522" y="458"/>
                    <a:pt x="1503" y="462"/>
                    <a:pt x="1498" y="464"/>
                  </a:cubicBezTo>
                  <a:cubicBezTo>
                    <a:pt x="1492" y="466"/>
                    <a:pt x="1498" y="468"/>
                    <a:pt x="1503" y="478"/>
                  </a:cubicBezTo>
                  <a:cubicBezTo>
                    <a:pt x="1508" y="488"/>
                    <a:pt x="1477" y="496"/>
                    <a:pt x="1466" y="492"/>
                  </a:cubicBezTo>
                  <a:cubicBezTo>
                    <a:pt x="1455" y="487"/>
                    <a:pt x="1481" y="456"/>
                    <a:pt x="1480" y="446"/>
                  </a:cubicBezTo>
                  <a:cubicBezTo>
                    <a:pt x="1478" y="436"/>
                    <a:pt x="1455" y="435"/>
                    <a:pt x="1455" y="435"/>
                  </a:cubicBezTo>
                  <a:cubicBezTo>
                    <a:pt x="1440" y="448"/>
                    <a:pt x="1440" y="448"/>
                    <a:pt x="1440" y="448"/>
                  </a:cubicBezTo>
                  <a:cubicBezTo>
                    <a:pt x="1442" y="433"/>
                    <a:pt x="1442" y="433"/>
                    <a:pt x="1442" y="433"/>
                  </a:cubicBezTo>
                  <a:cubicBezTo>
                    <a:pt x="1442" y="433"/>
                    <a:pt x="1433" y="438"/>
                    <a:pt x="1429" y="443"/>
                  </a:cubicBezTo>
                  <a:cubicBezTo>
                    <a:pt x="1424" y="447"/>
                    <a:pt x="1407" y="442"/>
                    <a:pt x="1407" y="442"/>
                  </a:cubicBezTo>
                  <a:cubicBezTo>
                    <a:pt x="1407" y="442"/>
                    <a:pt x="1435" y="413"/>
                    <a:pt x="1439" y="406"/>
                  </a:cubicBezTo>
                  <a:cubicBezTo>
                    <a:pt x="1444" y="400"/>
                    <a:pt x="1421" y="389"/>
                    <a:pt x="1417" y="389"/>
                  </a:cubicBezTo>
                  <a:cubicBezTo>
                    <a:pt x="1413" y="388"/>
                    <a:pt x="1397" y="380"/>
                    <a:pt x="1384" y="380"/>
                  </a:cubicBezTo>
                  <a:cubicBezTo>
                    <a:pt x="1371" y="381"/>
                    <a:pt x="1349" y="423"/>
                    <a:pt x="1345" y="433"/>
                  </a:cubicBezTo>
                  <a:cubicBezTo>
                    <a:pt x="1341" y="442"/>
                    <a:pt x="1328" y="468"/>
                    <a:pt x="1325" y="474"/>
                  </a:cubicBezTo>
                  <a:cubicBezTo>
                    <a:pt x="1322" y="481"/>
                    <a:pt x="1338" y="494"/>
                    <a:pt x="1338" y="494"/>
                  </a:cubicBezTo>
                  <a:cubicBezTo>
                    <a:pt x="1338" y="494"/>
                    <a:pt x="1351" y="524"/>
                    <a:pt x="1333" y="525"/>
                  </a:cubicBezTo>
                  <a:cubicBezTo>
                    <a:pt x="1316" y="527"/>
                    <a:pt x="1290" y="523"/>
                    <a:pt x="1286" y="531"/>
                  </a:cubicBezTo>
                  <a:cubicBezTo>
                    <a:pt x="1282" y="539"/>
                    <a:pt x="1301" y="545"/>
                    <a:pt x="1301" y="545"/>
                  </a:cubicBezTo>
                  <a:cubicBezTo>
                    <a:pt x="1301" y="545"/>
                    <a:pt x="1311" y="567"/>
                    <a:pt x="1310" y="569"/>
                  </a:cubicBezTo>
                  <a:cubicBezTo>
                    <a:pt x="1309" y="570"/>
                    <a:pt x="1287" y="559"/>
                    <a:pt x="1279" y="561"/>
                  </a:cubicBezTo>
                  <a:cubicBezTo>
                    <a:pt x="1271" y="563"/>
                    <a:pt x="1263" y="584"/>
                    <a:pt x="1263" y="584"/>
                  </a:cubicBezTo>
                  <a:cubicBezTo>
                    <a:pt x="1250" y="577"/>
                    <a:pt x="1250" y="577"/>
                    <a:pt x="1250" y="577"/>
                  </a:cubicBezTo>
                  <a:cubicBezTo>
                    <a:pt x="1239" y="599"/>
                    <a:pt x="1239" y="599"/>
                    <a:pt x="1239" y="599"/>
                  </a:cubicBezTo>
                  <a:cubicBezTo>
                    <a:pt x="1230" y="589"/>
                    <a:pt x="1230" y="589"/>
                    <a:pt x="1230" y="589"/>
                  </a:cubicBezTo>
                  <a:cubicBezTo>
                    <a:pt x="1216" y="598"/>
                    <a:pt x="1216" y="598"/>
                    <a:pt x="1216" y="598"/>
                  </a:cubicBezTo>
                  <a:cubicBezTo>
                    <a:pt x="1216" y="598"/>
                    <a:pt x="1217" y="588"/>
                    <a:pt x="1217" y="580"/>
                  </a:cubicBezTo>
                  <a:cubicBezTo>
                    <a:pt x="1217" y="572"/>
                    <a:pt x="1189" y="574"/>
                    <a:pt x="1186" y="577"/>
                  </a:cubicBezTo>
                  <a:cubicBezTo>
                    <a:pt x="1182" y="579"/>
                    <a:pt x="1150" y="584"/>
                    <a:pt x="1146" y="588"/>
                  </a:cubicBezTo>
                  <a:cubicBezTo>
                    <a:pt x="1142" y="592"/>
                    <a:pt x="1157" y="605"/>
                    <a:pt x="1157" y="606"/>
                  </a:cubicBezTo>
                  <a:cubicBezTo>
                    <a:pt x="1158" y="608"/>
                    <a:pt x="1115" y="622"/>
                    <a:pt x="1115" y="622"/>
                  </a:cubicBezTo>
                  <a:cubicBezTo>
                    <a:pt x="1110" y="633"/>
                    <a:pt x="1110" y="633"/>
                    <a:pt x="1110" y="633"/>
                  </a:cubicBezTo>
                  <a:cubicBezTo>
                    <a:pt x="1110" y="633"/>
                    <a:pt x="1102" y="634"/>
                    <a:pt x="1072" y="635"/>
                  </a:cubicBezTo>
                  <a:cubicBezTo>
                    <a:pt x="1043" y="636"/>
                    <a:pt x="1019" y="682"/>
                    <a:pt x="1013" y="685"/>
                  </a:cubicBezTo>
                  <a:cubicBezTo>
                    <a:pt x="1007" y="687"/>
                    <a:pt x="986" y="677"/>
                    <a:pt x="980" y="680"/>
                  </a:cubicBezTo>
                  <a:cubicBezTo>
                    <a:pt x="974" y="684"/>
                    <a:pt x="995" y="695"/>
                    <a:pt x="995" y="695"/>
                  </a:cubicBezTo>
                  <a:cubicBezTo>
                    <a:pt x="995" y="695"/>
                    <a:pt x="972" y="700"/>
                    <a:pt x="969" y="702"/>
                  </a:cubicBezTo>
                  <a:cubicBezTo>
                    <a:pt x="966" y="705"/>
                    <a:pt x="984" y="717"/>
                    <a:pt x="984" y="717"/>
                  </a:cubicBezTo>
                  <a:cubicBezTo>
                    <a:pt x="984" y="717"/>
                    <a:pt x="974" y="734"/>
                    <a:pt x="973" y="743"/>
                  </a:cubicBezTo>
                  <a:cubicBezTo>
                    <a:pt x="972" y="751"/>
                    <a:pt x="984" y="767"/>
                    <a:pt x="984" y="767"/>
                  </a:cubicBezTo>
                  <a:cubicBezTo>
                    <a:pt x="984" y="767"/>
                    <a:pt x="965" y="756"/>
                    <a:pt x="959" y="756"/>
                  </a:cubicBezTo>
                  <a:cubicBezTo>
                    <a:pt x="954" y="756"/>
                    <a:pt x="956" y="767"/>
                    <a:pt x="956" y="767"/>
                  </a:cubicBezTo>
                  <a:cubicBezTo>
                    <a:pt x="956" y="767"/>
                    <a:pt x="981" y="794"/>
                    <a:pt x="982" y="796"/>
                  </a:cubicBezTo>
                  <a:cubicBezTo>
                    <a:pt x="983" y="798"/>
                    <a:pt x="982" y="807"/>
                    <a:pt x="982" y="812"/>
                  </a:cubicBezTo>
                  <a:cubicBezTo>
                    <a:pt x="982" y="818"/>
                    <a:pt x="953" y="816"/>
                    <a:pt x="952" y="816"/>
                  </a:cubicBezTo>
                  <a:cubicBezTo>
                    <a:pt x="951" y="816"/>
                    <a:pt x="929" y="826"/>
                    <a:pt x="926" y="829"/>
                  </a:cubicBezTo>
                  <a:cubicBezTo>
                    <a:pt x="923" y="831"/>
                    <a:pt x="909" y="818"/>
                    <a:pt x="905" y="818"/>
                  </a:cubicBezTo>
                  <a:cubicBezTo>
                    <a:pt x="901" y="818"/>
                    <a:pt x="867" y="827"/>
                    <a:pt x="866" y="829"/>
                  </a:cubicBezTo>
                  <a:cubicBezTo>
                    <a:pt x="866" y="830"/>
                    <a:pt x="832" y="826"/>
                    <a:pt x="809" y="827"/>
                  </a:cubicBezTo>
                  <a:cubicBezTo>
                    <a:pt x="802" y="827"/>
                    <a:pt x="795" y="828"/>
                    <a:pt x="791" y="829"/>
                  </a:cubicBezTo>
                  <a:cubicBezTo>
                    <a:pt x="779" y="833"/>
                    <a:pt x="778" y="852"/>
                    <a:pt x="779" y="861"/>
                  </a:cubicBezTo>
                  <a:cubicBezTo>
                    <a:pt x="779" y="864"/>
                    <a:pt x="779" y="866"/>
                    <a:pt x="779" y="866"/>
                  </a:cubicBezTo>
                  <a:cubicBezTo>
                    <a:pt x="779" y="866"/>
                    <a:pt x="788" y="877"/>
                    <a:pt x="790" y="884"/>
                  </a:cubicBezTo>
                  <a:cubicBezTo>
                    <a:pt x="793" y="892"/>
                    <a:pt x="779" y="917"/>
                    <a:pt x="779" y="934"/>
                  </a:cubicBezTo>
                  <a:cubicBezTo>
                    <a:pt x="780" y="950"/>
                    <a:pt x="818" y="958"/>
                    <a:pt x="823" y="967"/>
                  </a:cubicBezTo>
                  <a:cubicBezTo>
                    <a:pt x="828" y="977"/>
                    <a:pt x="832" y="1008"/>
                    <a:pt x="833" y="1012"/>
                  </a:cubicBezTo>
                  <a:cubicBezTo>
                    <a:pt x="834" y="1015"/>
                    <a:pt x="833" y="1022"/>
                    <a:pt x="816" y="1023"/>
                  </a:cubicBezTo>
                  <a:cubicBezTo>
                    <a:pt x="799" y="1024"/>
                    <a:pt x="779" y="996"/>
                    <a:pt x="779" y="996"/>
                  </a:cubicBezTo>
                  <a:cubicBezTo>
                    <a:pt x="772" y="977"/>
                    <a:pt x="772" y="977"/>
                    <a:pt x="772" y="977"/>
                  </a:cubicBezTo>
                  <a:cubicBezTo>
                    <a:pt x="772" y="977"/>
                    <a:pt x="758" y="967"/>
                    <a:pt x="737" y="948"/>
                  </a:cubicBezTo>
                  <a:cubicBezTo>
                    <a:pt x="718" y="932"/>
                    <a:pt x="723" y="938"/>
                    <a:pt x="715" y="938"/>
                  </a:cubicBezTo>
                  <a:cubicBezTo>
                    <a:pt x="713" y="942"/>
                    <a:pt x="712" y="947"/>
                    <a:pt x="712" y="950"/>
                  </a:cubicBezTo>
                  <a:cubicBezTo>
                    <a:pt x="712" y="956"/>
                    <a:pt x="731" y="977"/>
                    <a:pt x="731" y="977"/>
                  </a:cubicBezTo>
                  <a:cubicBezTo>
                    <a:pt x="756" y="989"/>
                    <a:pt x="756" y="989"/>
                    <a:pt x="756" y="989"/>
                  </a:cubicBezTo>
                  <a:cubicBezTo>
                    <a:pt x="746" y="1019"/>
                    <a:pt x="746" y="1019"/>
                    <a:pt x="746" y="1019"/>
                  </a:cubicBezTo>
                  <a:cubicBezTo>
                    <a:pt x="723" y="1021"/>
                    <a:pt x="723" y="1021"/>
                    <a:pt x="723" y="1021"/>
                  </a:cubicBezTo>
                  <a:cubicBezTo>
                    <a:pt x="712" y="1042"/>
                    <a:pt x="712" y="1042"/>
                    <a:pt x="712" y="1042"/>
                  </a:cubicBezTo>
                  <a:cubicBezTo>
                    <a:pt x="753" y="1085"/>
                    <a:pt x="753" y="1085"/>
                    <a:pt x="753" y="1085"/>
                  </a:cubicBezTo>
                  <a:cubicBezTo>
                    <a:pt x="749" y="1150"/>
                    <a:pt x="749" y="1150"/>
                    <a:pt x="749" y="1150"/>
                  </a:cubicBezTo>
                  <a:cubicBezTo>
                    <a:pt x="740" y="1138"/>
                    <a:pt x="740" y="1138"/>
                    <a:pt x="740" y="1138"/>
                  </a:cubicBezTo>
                  <a:cubicBezTo>
                    <a:pt x="740" y="1138"/>
                    <a:pt x="676" y="1191"/>
                    <a:pt x="682" y="1198"/>
                  </a:cubicBezTo>
                  <a:cubicBezTo>
                    <a:pt x="689" y="1205"/>
                    <a:pt x="699" y="1219"/>
                    <a:pt x="699" y="1221"/>
                  </a:cubicBezTo>
                  <a:cubicBezTo>
                    <a:pt x="699" y="1223"/>
                    <a:pt x="712" y="1246"/>
                    <a:pt x="712" y="1247"/>
                  </a:cubicBezTo>
                  <a:cubicBezTo>
                    <a:pt x="712" y="1248"/>
                    <a:pt x="727" y="1247"/>
                    <a:pt x="729" y="1252"/>
                  </a:cubicBezTo>
                  <a:cubicBezTo>
                    <a:pt x="732" y="1256"/>
                    <a:pt x="746" y="1269"/>
                    <a:pt x="747" y="1269"/>
                  </a:cubicBezTo>
                  <a:cubicBezTo>
                    <a:pt x="749" y="1269"/>
                    <a:pt x="776" y="1248"/>
                    <a:pt x="776" y="1248"/>
                  </a:cubicBezTo>
                  <a:cubicBezTo>
                    <a:pt x="776" y="1248"/>
                    <a:pt x="774" y="1270"/>
                    <a:pt x="780" y="1275"/>
                  </a:cubicBezTo>
                  <a:cubicBezTo>
                    <a:pt x="786" y="1280"/>
                    <a:pt x="796" y="1284"/>
                    <a:pt x="796" y="1284"/>
                  </a:cubicBezTo>
                  <a:cubicBezTo>
                    <a:pt x="796" y="1284"/>
                    <a:pt x="788" y="1304"/>
                    <a:pt x="796" y="1311"/>
                  </a:cubicBezTo>
                  <a:cubicBezTo>
                    <a:pt x="803" y="1319"/>
                    <a:pt x="811" y="1328"/>
                    <a:pt x="811" y="1328"/>
                  </a:cubicBezTo>
                  <a:cubicBezTo>
                    <a:pt x="790" y="1334"/>
                    <a:pt x="790" y="1334"/>
                    <a:pt x="790" y="1334"/>
                  </a:cubicBezTo>
                  <a:cubicBezTo>
                    <a:pt x="790" y="1334"/>
                    <a:pt x="804" y="1348"/>
                    <a:pt x="797" y="1356"/>
                  </a:cubicBezTo>
                  <a:cubicBezTo>
                    <a:pt x="791" y="1364"/>
                    <a:pt x="776" y="1398"/>
                    <a:pt x="776" y="1398"/>
                  </a:cubicBezTo>
                  <a:cubicBezTo>
                    <a:pt x="757" y="1398"/>
                    <a:pt x="757" y="1398"/>
                    <a:pt x="757" y="1398"/>
                  </a:cubicBezTo>
                  <a:cubicBezTo>
                    <a:pt x="757" y="1398"/>
                    <a:pt x="781" y="1433"/>
                    <a:pt x="776" y="1445"/>
                  </a:cubicBezTo>
                  <a:cubicBezTo>
                    <a:pt x="772" y="1456"/>
                    <a:pt x="765" y="1471"/>
                    <a:pt x="765" y="1471"/>
                  </a:cubicBezTo>
                  <a:cubicBezTo>
                    <a:pt x="798" y="1514"/>
                    <a:pt x="798" y="1514"/>
                    <a:pt x="798" y="1514"/>
                  </a:cubicBezTo>
                  <a:cubicBezTo>
                    <a:pt x="787" y="1549"/>
                    <a:pt x="787" y="1549"/>
                    <a:pt x="787" y="1549"/>
                  </a:cubicBezTo>
                  <a:cubicBezTo>
                    <a:pt x="806" y="1569"/>
                    <a:pt x="806" y="1569"/>
                    <a:pt x="806" y="1569"/>
                  </a:cubicBezTo>
                  <a:cubicBezTo>
                    <a:pt x="806" y="1569"/>
                    <a:pt x="787" y="1591"/>
                    <a:pt x="800" y="1604"/>
                  </a:cubicBezTo>
                  <a:cubicBezTo>
                    <a:pt x="813" y="1616"/>
                    <a:pt x="832" y="1611"/>
                    <a:pt x="838" y="1633"/>
                  </a:cubicBezTo>
                  <a:cubicBezTo>
                    <a:pt x="843" y="1655"/>
                    <a:pt x="819" y="1694"/>
                    <a:pt x="826" y="1700"/>
                  </a:cubicBezTo>
                  <a:cubicBezTo>
                    <a:pt x="833" y="1705"/>
                    <a:pt x="851" y="1708"/>
                    <a:pt x="851" y="1708"/>
                  </a:cubicBezTo>
                  <a:cubicBezTo>
                    <a:pt x="851" y="1708"/>
                    <a:pt x="863" y="1725"/>
                    <a:pt x="866" y="1723"/>
                  </a:cubicBezTo>
                  <a:cubicBezTo>
                    <a:pt x="869" y="1721"/>
                    <a:pt x="883" y="1715"/>
                    <a:pt x="883" y="1715"/>
                  </a:cubicBezTo>
                  <a:cubicBezTo>
                    <a:pt x="883" y="1715"/>
                    <a:pt x="899" y="1779"/>
                    <a:pt x="892" y="1786"/>
                  </a:cubicBezTo>
                  <a:cubicBezTo>
                    <a:pt x="884" y="1793"/>
                    <a:pt x="849" y="1838"/>
                    <a:pt x="849" y="1838"/>
                  </a:cubicBezTo>
                  <a:cubicBezTo>
                    <a:pt x="849" y="1838"/>
                    <a:pt x="876" y="1858"/>
                    <a:pt x="868" y="1864"/>
                  </a:cubicBezTo>
                  <a:cubicBezTo>
                    <a:pt x="860" y="1869"/>
                    <a:pt x="858" y="1879"/>
                    <a:pt x="858" y="1879"/>
                  </a:cubicBezTo>
                  <a:cubicBezTo>
                    <a:pt x="868" y="1889"/>
                    <a:pt x="868" y="1889"/>
                    <a:pt x="868" y="1889"/>
                  </a:cubicBezTo>
                  <a:cubicBezTo>
                    <a:pt x="810" y="1962"/>
                    <a:pt x="810" y="1962"/>
                    <a:pt x="810" y="1962"/>
                  </a:cubicBezTo>
                  <a:cubicBezTo>
                    <a:pt x="814" y="1999"/>
                    <a:pt x="814" y="1999"/>
                    <a:pt x="814" y="1999"/>
                  </a:cubicBezTo>
                  <a:cubicBezTo>
                    <a:pt x="875" y="2038"/>
                    <a:pt x="875" y="2038"/>
                    <a:pt x="875" y="2038"/>
                  </a:cubicBezTo>
                  <a:cubicBezTo>
                    <a:pt x="854" y="2049"/>
                    <a:pt x="854" y="2049"/>
                    <a:pt x="854" y="2049"/>
                  </a:cubicBezTo>
                  <a:cubicBezTo>
                    <a:pt x="856" y="2063"/>
                    <a:pt x="856" y="2063"/>
                    <a:pt x="856" y="2063"/>
                  </a:cubicBezTo>
                  <a:cubicBezTo>
                    <a:pt x="796" y="2097"/>
                    <a:pt x="796" y="2097"/>
                    <a:pt x="796" y="2097"/>
                  </a:cubicBezTo>
                  <a:cubicBezTo>
                    <a:pt x="796" y="2097"/>
                    <a:pt x="781" y="2101"/>
                    <a:pt x="775" y="2097"/>
                  </a:cubicBezTo>
                  <a:cubicBezTo>
                    <a:pt x="770" y="2093"/>
                    <a:pt x="768" y="2070"/>
                    <a:pt x="749" y="2075"/>
                  </a:cubicBezTo>
                  <a:cubicBezTo>
                    <a:pt x="730" y="2080"/>
                    <a:pt x="722" y="2089"/>
                    <a:pt x="712" y="2095"/>
                  </a:cubicBezTo>
                  <a:cubicBezTo>
                    <a:pt x="702" y="2101"/>
                    <a:pt x="693" y="2120"/>
                    <a:pt x="689" y="2117"/>
                  </a:cubicBezTo>
                  <a:cubicBezTo>
                    <a:pt x="684" y="2113"/>
                    <a:pt x="676" y="2103"/>
                    <a:pt x="671" y="2105"/>
                  </a:cubicBezTo>
                  <a:cubicBezTo>
                    <a:pt x="665" y="2106"/>
                    <a:pt x="653" y="2116"/>
                    <a:pt x="648" y="2109"/>
                  </a:cubicBezTo>
                  <a:cubicBezTo>
                    <a:pt x="644" y="2101"/>
                    <a:pt x="622" y="2082"/>
                    <a:pt x="622" y="2082"/>
                  </a:cubicBezTo>
                  <a:cubicBezTo>
                    <a:pt x="593" y="2093"/>
                    <a:pt x="593" y="2093"/>
                    <a:pt x="593" y="2093"/>
                  </a:cubicBezTo>
                  <a:cubicBezTo>
                    <a:pt x="593" y="2093"/>
                    <a:pt x="559" y="2087"/>
                    <a:pt x="557" y="2084"/>
                  </a:cubicBezTo>
                  <a:cubicBezTo>
                    <a:pt x="555" y="2082"/>
                    <a:pt x="563" y="2069"/>
                    <a:pt x="548" y="2070"/>
                  </a:cubicBezTo>
                  <a:cubicBezTo>
                    <a:pt x="533" y="2071"/>
                    <a:pt x="474" y="2059"/>
                    <a:pt x="464" y="2057"/>
                  </a:cubicBezTo>
                  <a:cubicBezTo>
                    <a:pt x="454" y="2055"/>
                    <a:pt x="455" y="2071"/>
                    <a:pt x="449" y="2077"/>
                  </a:cubicBezTo>
                  <a:cubicBezTo>
                    <a:pt x="444" y="2083"/>
                    <a:pt x="431" y="2090"/>
                    <a:pt x="431" y="2090"/>
                  </a:cubicBezTo>
                  <a:cubicBezTo>
                    <a:pt x="408" y="2168"/>
                    <a:pt x="408" y="2168"/>
                    <a:pt x="408" y="2168"/>
                  </a:cubicBezTo>
                  <a:cubicBezTo>
                    <a:pt x="389" y="2170"/>
                    <a:pt x="389" y="2170"/>
                    <a:pt x="389" y="2170"/>
                  </a:cubicBezTo>
                  <a:cubicBezTo>
                    <a:pt x="389" y="2170"/>
                    <a:pt x="363" y="2189"/>
                    <a:pt x="362" y="2189"/>
                  </a:cubicBezTo>
                  <a:cubicBezTo>
                    <a:pt x="360" y="2189"/>
                    <a:pt x="353" y="2217"/>
                    <a:pt x="353" y="2217"/>
                  </a:cubicBezTo>
                  <a:cubicBezTo>
                    <a:pt x="353" y="2217"/>
                    <a:pt x="269" y="2277"/>
                    <a:pt x="266" y="2277"/>
                  </a:cubicBezTo>
                  <a:cubicBezTo>
                    <a:pt x="264" y="2277"/>
                    <a:pt x="212" y="2262"/>
                    <a:pt x="206" y="2264"/>
                  </a:cubicBezTo>
                  <a:cubicBezTo>
                    <a:pt x="201" y="2266"/>
                    <a:pt x="190" y="2281"/>
                    <a:pt x="188" y="2280"/>
                  </a:cubicBezTo>
                  <a:cubicBezTo>
                    <a:pt x="186" y="2280"/>
                    <a:pt x="148" y="2253"/>
                    <a:pt x="148" y="2253"/>
                  </a:cubicBezTo>
                  <a:cubicBezTo>
                    <a:pt x="148" y="2253"/>
                    <a:pt x="113" y="2252"/>
                    <a:pt x="113" y="2243"/>
                  </a:cubicBezTo>
                  <a:cubicBezTo>
                    <a:pt x="113" y="2234"/>
                    <a:pt x="123" y="2226"/>
                    <a:pt x="123" y="2224"/>
                  </a:cubicBezTo>
                  <a:cubicBezTo>
                    <a:pt x="123" y="2222"/>
                    <a:pt x="111" y="2207"/>
                    <a:pt x="111" y="2207"/>
                  </a:cubicBezTo>
                  <a:cubicBezTo>
                    <a:pt x="69" y="2254"/>
                    <a:pt x="69" y="2254"/>
                    <a:pt x="69" y="2254"/>
                  </a:cubicBezTo>
                  <a:cubicBezTo>
                    <a:pt x="69" y="2254"/>
                    <a:pt x="71" y="2284"/>
                    <a:pt x="70" y="2286"/>
                  </a:cubicBezTo>
                  <a:cubicBezTo>
                    <a:pt x="69" y="2287"/>
                    <a:pt x="44" y="2301"/>
                    <a:pt x="53" y="2309"/>
                  </a:cubicBezTo>
                  <a:cubicBezTo>
                    <a:pt x="62" y="2318"/>
                    <a:pt x="69" y="2320"/>
                    <a:pt x="69" y="2320"/>
                  </a:cubicBezTo>
                  <a:cubicBezTo>
                    <a:pt x="69" y="2320"/>
                    <a:pt x="90" y="2306"/>
                    <a:pt x="95" y="2302"/>
                  </a:cubicBezTo>
                  <a:cubicBezTo>
                    <a:pt x="92" y="2307"/>
                    <a:pt x="83" y="2322"/>
                    <a:pt x="87" y="2329"/>
                  </a:cubicBezTo>
                  <a:cubicBezTo>
                    <a:pt x="91" y="2336"/>
                    <a:pt x="110" y="2355"/>
                    <a:pt x="103" y="2364"/>
                  </a:cubicBezTo>
                  <a:cubicBezTo>
                    <a:pt x="96" y="2373"/>
                    <a:pt x="65" y="2375"/>
                    <a:pt x="59" y="2391"/>
                  </a:cubicBezTo>
                  <a:cubicBezTo>
                    <a:pt x="53" y="2406"/>
                    <a:pt x="49" y="2425"/>
                    <a:pt x="46" y="2425"/>
                  </a:cubicBezTo>
                  <a:cubicBezTo>
                    <a:pt x="44" y="2425"/>
                    <a:pt x="22" y="2440"/>
                    <a:pt x="19" y="2451"/>
                  </a:cubicBezTo>
                  <a:cubicBezTo>
                    <a:pt x="17" y="2459"/>
                    <a:pt x="5" y="2486"/>
                    <a:pt x="0" y="2500"/>
                  </a:cubicBezTo>
                  <a:cubicBezTo>
                    <a:pt x="8" y="2499"/>
                    <a:pt x="16" y="2499"/>
                    <a:pt x="22" y="2504"/>
                  </a:cubicBezTo>
                  <a:cubicBezTo>
                    <a:pt x="35" y="2516"/>
                    <a:pt x="12" y="2539"/>
                    <a:pt x="12" y="2539"/>
                  </a:cubicBezTo>
                  <a:cubicBezTo>
                    <a:pt x="12" y="2539"/>
                    <a:pt x="24" y="2556"/>
                    <a:pt x="28" y="2563"/>
                  </a:cubicBezTo>
                  <a:cubicBezTo>
                    <a:pt x="31" y="2570"/>
                    <a:pt x="4" y="2590"/>
                    <a:pt x="17" y="2614"/>
                  </a:cubicBezTo>
                  <a:cubicBezTo>
                    <a:pt x="31" y="2637"/>
                    <a:pt x="48" y="2601"/>
                    <a:pt x="67" y="2606"/>
                  </a:cubicBezTo>
                  <a:cubicBezTo>
                    <a:pt x="86" y="2612"/>
                    <a:pt x="71" y="2642"/>
                    <a:pt x="74" y="2651"/>
                  </a:cubicBezTo>
                  <a:cubicBezTo>
                    <a:pt x="76" y="2660"/>
                    <a:pt x="79" y="2641"/>
                    <a:pt x="102" y="2635"/>
                  </a:cubicBezTo>
                  <a:cubicBezTo>
                    <a:pt x="125" y="2629"/>
                    <a:pt x="111" y="2647"/>
                    <a:pt x="118" y="2656"/>
                  </a:cubicBezTo>
                  <a:cubicBezTo>
                    <a:pt x="124" y="2664"/>
                    <a:pt x="148" y="2652"/>
                    <a:pt x="151" y="2660"/>
                  </a:cubicBezTo>
                  <a:cubicBezTo>
                    <a:pt x="153" y="2668"/>
                    <a:pt x="108" y="2682"/>
                    <a:pt x="106" y="2685"/>
                  </a:cubicBezTo>
                  <a:cubicBezTo>
                    <a:pt x="104" y="2689"/>
                    <a:pt x="106" y="2694"/>
                    <a:pt x="116" y="2707"/>
                  </a:cubicBezTo>
                  <a:cubicBezTo>
                    <a:pt x="125" y="2721"/>
                    <a:pt x="143" y="2695"/>
                    <a:pt x="145" y="2695"/>
                  </a:cubicBezTo>
                  <a:cubicBezTo>
                    <a:pt x="148" y="2695"/>
                    <a:pt x="167" y="2714"/>
                    <a:pt x="169" y="2715"/>
                  </a:cubicBezTo>
                  <a:cubicBezTo>
                    <a:pt x="172" y="2716"/>
                    <a:pt x="196" y="2693"/>
                    <a:pt x="200" y="2692"/>
                  </a:cubicBezTo>
                  <a:cubicBezTo>
                    <a:pt x="203" y="2691"/>
                    <a:pt x="217" y="2695"/>
                    <a:pt x="217" y="2695"/>
                  </a:cubicBezTo>
                  <a:cubicBezTo>
                    <a:pt x="217" y="2695"/>
                    <a:pt x="238" y="2674"/>
                    <a:pt x="242" y="2674"/>
                  </a:cubicBezTo>
                  <a:cubicBezTo>
                    <a:pt x="246" y="2673"/>
                    <a:pt x="263" y="2672"/>
                    <a:pt x="268" y="2674"/>
                  </a:cubicBezTo>
                  <a:cubicBezTo>
                    <a:pt x="273" y="2675"/>
                    <a:pt x="290" y="2651"/>
                    <a:pt x="290" y="2651"/>
                  </a:cubicBezTo>
                  <a:cubicBezTo>
                    <a:pt x="290" y="2651"/>
                    <a:pt x="306" y="2656"/>
                    <a:pt x="308" y="2656"/>
                  </a:cubicBezTo>
                  <a:cubicBezTo>
                    <a:pt x="310" y="2656"/>
                    <a:pt x="337" y="2655"/>
                    <a:pt x="338" y="2666"/>
                  </a:cubicBezTo>
                  <a:cubicBezTo>
                    <a:pt x="339" y="2676"/>
                    <a:pt x="300" y="2692"/>
                    <a:pt x="300" y="2692"/>
                  </a:cubicBezTo>
                  <a:cubicBezTo>
                    <a:pt x="358" y="2764"/>
                    <a:pt x="358" y="2764"/>
                    <a:pt x="358" y="2764"/>
                  </a:cubicBezTo>
                  <a:cubicBezTo>
                    <a:pt x="452" y="3024"/>
                    <a:pt x="452" y="3024"/>
                    <a:pt x="452" y="3024"/>
                  </a:cubicBezTo>
                  <a:cubicBezTo>
                    <a:pt x="452" y="3024"/>
                    <a:pt x="459" y="3027"/>
                    <a:pt x="476" y="3024"/>
                  </a:cubicBezTo>
                  <a:cubicBezTo>
                    <a:pt x="493" y="3020"/>
                    <a:pt x="497" y="2987"/>
                    <a:pt x="510" y="2993"/>
                  </a:cubicBezTo>
                  <a:cubicBezTo>
                    <a:pt x="523" y="3000"/>
                    <a:pt x="520" y="3023"/>
                    <a:pt x="520" y="3023"/>
                  </a:cubicBezTo>
                  <a:cubicBezTo>
                    <a:pt x="537" y="3028"/>
                    <a:pt x="537" y="3028"/>
                    <a:pt x="537" y="3028"/>
                  </a:cubicBezTo>
                  <a:cubicBezTo>
                    <a:pt x="537" y="3028"/>
                    <a:pt x="543" y="3047"/>
                    <a:pt x="545" y="3049"/>
                  </a:cubicBezTo>
                  <a:cubicBezTo>
                    <a:pt x="547" y="3051"/>
                    <a:pt x="607" y="3056"/>
                    <a:pt x="607" y="3056"/>
                  </a:cubicBezTo>
                  <a:cubicBezTo>
                    <a:pt x="620" y="3039"/>
                    <a:pt x="656" y="3033"/>
                    <a:pt x="679" y="3050"/>
                  </a:cubicBezTo>
                  <a:cubicBezTo>
                    <a:pt x="702" y="3068"/>
                    <a:pt x="702" y="3114"/>
                    <a:pt x="703" y="3116"/>
                  </a:cubicBezTo>
                  <a:cubicBezTo>
                    <a:pt x="704" y="3118"/>
                    <a:pt x="712" y="3122"/>
                    <a:pt x="739" y="3133"/>
                  </a:cubicBezTo>
                  <a:cubicBezTo>
                    <a:pt x="766" y="3145"/>
                    <a:pt x="758" y="3173"/>
                    <a:pt x="764" y="3178"/>
                  </a:cubicBezTo>
                  <a:cubicBezTo>
                    <a:pt x="771" y="3182"/>
                    <a:pt x="777" y="3180"/>
                    <a:pt x="788" y="3180"/>
                  </a:cubicBezTo>
                  <a:cubicBezTo>
                    <a:pt x="799" y="3180"/>
                    <a:pt x="795" y="3186"/>
                    <a:pt x="806" y="3191"/>
                  </a:cubicBezTo>
                  <a:cubicBezTo>
                    <a:pt x="816" y="3196"/>
                    <a:pt x="852" y="3165"/>
                    <a:pt x="852" y="3165"/>
                  </a:cubicBezTo>
                  <a:cubicBezTo>
                    <a:pt x="853" y="3189"/>
                    <a:pt x="880" y="3228"/>
                    <a:pt x="902" y="3229"/>
                  </a:cubicBezTo>
                  <a:cubicBezTo>
                    <a:pt x="924" y="3230"/>
                    <a:pt x="945" y="3200"/>
                    <a:pt x="945" y="3200"/>
                  </a:cubicBezTo>
                  <a:cubicBezTo>
                    <a:pt x="990" y="3202"/>
                    <a:pt x="990" y="3202"/>
                    <a:pt x="990" y="3202"/>
                  </a:cubicBezTo>
                  <a:cubicBezTo>
                    <a:pt x="990" y="3202"/>
                    <a:pt x="1040" y="3179"/>
                    <a:pt x="1040" y="3173"/>
                  </a:cubicBezTo>
                  <a:cubicBezTo>
                    <a:pt x="1040" y="3167"/>
                    <a:pt x="1086" y="3130"/>
                    <a:pt x="1104" y="3114"/>
                  </a:cubicBezTo>
                  <a:cubicBezTo>
                    <a:pt x="1123" y="3099"/>
                    <a:pt x="1141" y="3112"/>
                    <a:pt x="1144" y="3112"/>
                  </a:cubicBezTo>
                  <a:cubicBezTo>
                    <a:pt x="1146" y="3112"/>
                    <a:pt x="1147" y="3094"/>
                    <a:pt x="1160" y="3082"/>
                  </a:cubicBezTo>
                  <a:cubicBezTo>
                    <a:pt x="1174" y="3071"/>
                    <a:pt x="1189" y="3083"/>
                    <a:pt x="1189" y="3083"/>
                  </a:cubicBezTo>
                  <a:cubicBezTo>
                    <a:pt x="1202" y="3066"/>
                    <a:pt x="1202" y="3066"/>
                    <a:pt x="1202" y="3066"/>
                  </a:cubicBezTo>
                  <a:cubicBezTo>
                    <a:pt x="1212" y="3075"/>
                    <a:pt x="1212" y="3075"/>
                    <a:pt x="1212" y="3075"/>
                  </a:cubicBezTo>
                  <a:cubicBezTo>
                    <a:pt x="1212" y="3075"/>
                    <a:pt x="1229" y="3073"/>
                    <a:pt x="1231" y="3074"/>
                  </a:cubicBezTo>
                  <a:cubicBezTo>
                    <a:pt x="1233" y="3074"/>
                    <a:pt x="1243" y="3085"/>
                    <a:pt x="1245" y="3087"/>
                  </a:cubicBezTo>
                  <a:cubicBezTo>
                    <a:pt x="1248" y="3088"/>
                    <a:pt x="1322" y="3088"/>
                    <a:pt x="1324" y="3090"/>
                  </a:cubicBezTo>
                  <a:cubicBezTo>
                    <a:pt x="1326" y="3092"/>
                    <a:pt x="1340" y="3135"/>
                    <a:pt x="1340" y="3138"/>
                  </a:cubicBezTo>
                  <a:cubicBezTo>
                    <a:pt x="1341" y="3141"/>
                    <a:pt x="1348" y="3134"/>
                    <a:pt x="1361" y="3134"/>
                  </a:cubicBezTo>
                  <a:cubicBezTo>
                    <a:pt x="1374" y="3133"/>
                    <a:pt x="1395" y="3149"/>
                    <a:pt x="1395" y="3149"/>
                  </a:cubicBezTo>
                  <a:cubicBezTo>
                    <a:pt x="1395" y="3149"/>
                    <a:pt x="1414" y="3136"/>
                    <a:pt x="1424" y="3136"/>
                  </a:cubicBezTo>
                  <a:cubicBezTo>
                    <a:pt x="1434" y="3136"/>
                    <a:pt x="1445" y="3143"/>
                    <a:pt x="1445" y="3143"/>
                  </a:cubicBezTo>
                  <a:cubicBezTo>
                    <a:pt x="1445" y="3143"/>
                    <a:pt x="1475" y="3140"/>
                    <a:pt x="1477" y="3140"/>
                  </a:cubicBezTo>
                  <a:cubicBezTo>
                    <a:pt x="1479" y="3140"/>
                    <a:pt x="1500" y="3155"/>
                    <a:pt x="1500" y="3155"/>
                  </a:cubicBezTo>
                  <a:cubicBezTo>
                    <a:pt x="1500" y="3155"/>
                    <a:pt x="1546" y="3127"/>
                    <a:pt x="1554" y="3124"/>
                  </a:cubicBezTo>
                  <a:cubicBezTo>
                    <a:pt x="1562" y="3120"/>
                    <a:pt x="1569" y="3078"/>
                    <a:pt x="1569" y="3078"/>
                  </a:cubicBezTo>
                  <a:cubicBezTo>
                    <a:pt x="1569" y="3078"/>
                    <a:pt x="1541" y="3050"/>
                    <a:pt x="1536" y="3030"/>
                  </a:cubicBezTo>
                  <a:cubicBezTo>
                    <a:pt x="1531" y="3010"/>
                    <a:pt x="1548" y="2969"/>
                    <a:pt x="1548" y="2969"/>
                  </a:cubicBezTo>
                  <a:cubicBezTo>
                    <a:pt x="1548" y="2969"/>
                    <a:pt x="1565" y="2952"/>
                    <a:pt x="1572" y="2948"/>
                  </a:cubicBezTo>
                  <a:cubicBezTo>
                    <a:pt x="1579" y="2944"/>
                    <a:pt x="1584" y="2909"/>
                    <a:pt x="1584" y="2909"/>
                  </a:cubicBezTo>
                  <a:cubicBezTo>
                    <a:pt x="1635" y="2939"/>
                    <a:pt x="1635" y="2939"/>
                    <a:pt x="1635" y="2939"/>
                  </a:cubicBezTo>
                  <a:cubicBezTo>
                    <a:pt x="1635" y="2939"/>
                    <a:pt x="1651" y="2933"/>
                    <a:pt x="1682" y="2935"/>
                  </a:cubicBezTo>
                  <a:cubicBezTo>
                    <a:pt x="1714" y="2936"/>
                    <a:pt x="1728" y="2951"/>
                    <a:pt x="1728" y="2951"/>
                  </a:cubicBezTo>
                  <a:cubicBezTo>
                    <a:pt x="1728" y="2951"/>
                    <a:pt x="1777" y="2958"/>
                    <a:pt x="1785" y="2962"/>
                  </a:cubicBezTo>
                  <a:cubicBezTo>
                    <a:pt x="1793" y="2966"/>
                    <a:pt x="1798" y="3002"/>
                    <a:pt x="1813" y="3026"/>
                  </a:cubicBezTo>
                  <a:cubicBezTo>
                    <a:pt x="1829" y="3049"/>
                    <a:pt x="1898" y="3053"/>
                    <a:pt x="1911" y="3053"/>
                  </a:cubicBezTo>
                  <a:cubicBezTo>
                    <a:pt x="1924" y="3054"/>
                    <a:pt x="1985" y="3004"/>
                    <a:pt x="1985" y="3004"/>
                  </a:cubicBezTo>
                  <a:cubicBezTo>
                    <a:pt x="1985" y="3004"/>
                    <a:pt x="2041" y="3009"/>
                    <a:pt x="2045" y="3010"/>
                  </a:cubicBezTo>
                  <a:cubicBezTo>
                    <a:pt x="2050" y="3012"/>
                    <a:pt x="2064" y="3001"/>
                    <a:pt x="2080" y="3002"/>
                  </a:cubicBezTo>
                  <a:cubicBezTo>
                    <a:pt x="2097" y="3002"/>
                    <a:pt x="2111" y="3020"/>
                    <a:pt x="2115" y="3023"/>
                  </a:cubicBezTo>
                  <a:cubicBezTo>
                    <a:pt x="2120" y="3026"/>
                    <a:pt x="2157" y="3016"/>
                    <a:pt x="2163" y="3027"/>
                  </a:cubicBezTo>
                  <a:cubicBezTo>
                    <a:pt x="2170" y="3037"/>
                    <a:pt x="2198" y="3060"/>
                    <a:pt x="2198" y="3060"/>
                  </a:cubicBezTo>
                  <a:cubicBezTo>
                    <a:pt x="2246" y="3053"/>
                    <a:pt x="2246" y="3053"/>
                    <a:pt x="2246" y="3053"/>
                  </a:cubicBezTo>
                  <a:cubicBezTo>
                    <a:pt x="2246" y="3053"/>
                    <a:pt x="2262" y="3056"/>
                    <a:pt x="2289" y="3058"/>
                  </a:cubicBezTo>
                  <a:cubicBezTo>
                    <a:pt x="2316" y="3059"/>
                    <a:pt x="2336" y="3045"/>
                    <a:pt x="2348" y="3045"/>
                  </a:cubicBezTo>
                  <a:cubicBezTo>
                    <a:pt x="2359" y="3045"/>
                    <a:pt x="2441" y="2975"/>
                    <a:pt x="2441" y="2975"/>
                  </a:cubicBezTo>
                  <a:cubicBezTo>
                    <a:pt x="2441" y="2975"/>
                    <a:pt x="2468" y="2969"/>
                    <a:pt x="2478" y="2958"/>
                  </a:cubicBezTo>
                  <a:cubicBezTo>
                    <a:pt x="2489" y="2948"/>
                    <a:pt x="2499" y="2907"/>
                    <a:pt x="2507" y="2900"/>
                  </a:cubicBezTo>
                  <a:cubicBezTo>
                    <a:pt x="2516" y="2892"/>
                    <a:pt x="2515" y="2879"/>
                    <a:pt x="2515" y="2879"/>
                  </a:cubicBezTo>
                  <a:cubicBezTo>
                    <a:pt x="2515" y="2879"/>
                    <a:pt x="2549" y="2861"/>
                    <a:pt x="2555" y="2861"/>
                  </a:cubicBezTo>
                  <a:cubicBezTo>
                    <a:pt x="2561" y="2861"/>
                    <a:pt x="2586" y="2877"/>
                    <a:pt x="2603" y="2881"/>
                  </a:cubicBezTo>
                  <a:cubicBezTo>
                    <a:pt x="2619" y="2885"/>
                    <a:pt x="2642" y="2857"/>
                    <a:pt x="2658" y="2850"/>
                  </a:cubicBezTo>
                  <a:cubicBezTo>
                    <a:pt x="2673" y="2842"/>
                    <a:pt x="2683" y="2857"/>
                    <a:pt x="2694" y="2862"/>
                  </a:cubicBezTo>
                  <a:cubicBezTo>
                    <a:pt x="2704" y="2867"/>
                    <a:pt x="2764" y="2860"/>
                    <a:pt x="2764" y="2860"/>
                  </a:cubicBezTo>
                  <a:cubicBezTo>
                    <a:pt x="2764" y="2860"/>
                    <a:pt x="2772" y="2830"/>
                    <a:pt x="2781" y="2817"/>
                  </a:cubicBezTo>
                  <a:cubicBezTo>
                    <a:pt x="2789" y="2805"/>
                    <a:pt x="2820" y="2783"/>
                    <a:pt x="2824" y="2770"/>
                  </a:cubicBezTo>
                  <a:cubicBezTo>
                    <a:pt x="2828" y="2756"/>
                    <a:pt x="2816" y="2751"/>
                    <a:pt x="2801" y="2741"/>
                  </a:cubicBezTo>
                  <a:close/>
                  <a:moveTo>
                    <a:pt x="2120" y="2642"/>
                  </a:moveTo>
                  <a:cubicBezTo>
                    <a:pt x="2114" y="2644"/>
                    <a:pt x="2114" y="2658"/>
                    <a:pt x="2108" y="2668"/>
                  </a:cubicBezTo>
                  <a:cubicBezTo>
                    <a:pt x="2101" y="2678"/>
                    <a:pt x="2125" y="2665"/>
                    <a:pt x="2125" y="2665"/>
                  </a:cubicBezTo>
                  <a:cubicBezTo>
                    <a:pt x="2125" y="2665"/>
                    <a:pt x="2133" y="2679"/>
                    <a:pt x="2134" y="2683"/>
                  </a:cubicBezTo>
                  <a:cubicBezTo>
                    <a:pt x="2135" y="2687"/>
                    <a:pt x="2120" y="2688"/>
                    <a:pt x="2105" y="2698"/>
                  </a:cubicBezTo>
                  <a:cubicBezTo>
                    <a:pt x="2090" y="2708"/>
                    <a:pt x="2096" y="2749"/>
                    <a:pt x="2096" y="2749"/>
                  </a:cubicBezTo>
                  <a:cubicBezTo>
                    <a:pt x="2096" y="2749"/>
                    <a:pt x="2084" y="2756"/>
                    <a:pt x="2063" y="2768"/>
                  </a:cubicBezTo>
                  <a:cubicBezTo>
                    <a:pt x="2043" y="2779"/>
                    <a:pt x="2037" y="2805"/>
                    <a:pt x="2037" y="2805"/>
                  </a:cubicBezTo>
                  <a:cubicBezTo>
                    <a:pt x="2037" y="2805"/>
                    <a:pt x="2023" y="2805"/>
                    <a:pt x="2014" y="2805"/>
                  </a:cubicBezTo>
                  <a:cubicBezTo>
                    <a:pt x="2005" y="2805"/>
                    <a:pt x="2009" y="2861"/>
                    <a:pt x="2009" y="2867"/>
                  </a:cubicBezTo>
                  <a:cubicBezTo>
                    <a:pt x="2009" y="2874"/>
                    <a:pt x="1975" y="2899"/>
                    <a:pt x="1947" y="2907"/>
                  </a:cubicBezTo>
                  <a:cubicBezTo>
                    <a:pt x="1919" y="2914"/>
                    <a:pt x="1884" y="2912"/>
                    <a:pt x="1884" y="2912"/>
                  </a:cubicBezTo>
                  <a:cubicBezTo>
                    <a:pt x="1876" y="2909"/>
                    <a:pt x="1928" y="2884"/>
                    <a:pt x="1945" y="2874"/>
                  </a:cubicBezTo>
                  <a:cubicBezTo>
                    <a:pt x="1961" y="2864"/>
                    <a:pt x="1972" y="2818"/>
                    <a:pt x="1974" y="2809"/>
                  </a:cubicBezTo>
                  <a:cubicBezTo>
                    <a:pt x="1975" y="2800"/>
                    <a:pt x="2003" y="2788"/>
                    <a:pt x="2014" y="2778"/>
                  </a:cubicBezTo>
                  <a:cubicBezTo>
                    <a:pt x="2025" y="2768"/>
                    <a:pt x="2015" y="2740"/>
                    <a:pt x="2024" y="2740"/>
                  </a:cubicBezTo>
                  <a:cubicBezTo>
                    <a:pt x="2033" y="2740"/>
                    <a:pt x="2057" y="2699"/>
                    <a:pt x="2057" y="2699"/>
                  </a:cubicBezTo>
                  <a:cubicBezTo>
                    <a:pt x="2028" y="2725"/>
                    <a:pt x="2028" y="2725"/>
                    <a:pt x="2028" y="2725"/>
                  </a:cubicBezTo>
                  <a:cubicBezTo>
                    <a:pt x="2028" y="2725"/>
                    <a:pt x="2048" y="2673"/>
                    <a:pt x="2052" y="2661"/>
                  </a:cubicBezTo>
                  <a:cubicBezTo>
                    <a:pt x="2056" y="2650"/>
                    <a:pt x="2071" y="2644"/>
                    <a:pt x="2071" y="2644"/>
                  </a:cubicBezTo>
                  <a:cubicBezTo>
                    <a:pt x="2071" y="2644"/>
                    <a:pt x="2086" y="2529"/>
                    <a:pt x="2098" y="2507"/>
                  </a:cubicBezTo>
                  <a:cubicBezTo>
                    <a:pt x="2109" y="2486"/>
                    <a:pt x="2084" y="2483"/>
                    <a:pt x="2084" y="2483"/>
                  </a:cubicBezTo>
                  <a:cubicBezTo>
                    <a:pt x="2084" y="2483"/>
                    <a:pt x="2096" y="2447"/>
                    <a:pt x="2114" y="2447"/>
                  </a:cubicBezTo>
                  <a:cubicBezTo>
                    <a:pt x="2132" y="2447"/>
                    <a:pt x="2128" y="2577"/>
                    <a:pt x="2128" y="2581"/>
                  </a:cubicBezTo>
                  <a:cubicBezTo>
                    <a:pt x="2128" y="2584"/>
                    <a:pt x="2135" y="2599"/>
                    <a:pt x="2144" y="2611"/>
                  </a:cubicBezTo>
                  <a:cubicBezTo>
                    <a:pt x="2153" y="2622"/>
                    <a:pt x="2127" y="2641"/>
                    <a:pt x="2120" y="2642"/>
                  </a:cubicBezTo>
                  <a:close/>
                  <a:moveTo>
                    <a:pt x="1245" y="553"/>
                  </a:moveTo>
                  <a:cubicBezTo>
                    <a:pt x="1235" y="546"/>
                    <a:pt x="1210" y="554"/>
                    <a:pt x="1210" y="554"/>
                  </a:cubicBezTo>
                  <a:cubicBezTo>
                    <a:pt x="1210" y="554"/>
                    <a:pt x="1212" y="559"/>
                    <a:pt x="1223" y="570"/>
                  </a:cubicBezTo>
                  <a:cubicBezTo>
                    <a:pt x="1234" y="581"/>
                    <a:pt x="1245" y="553"/>
                    <a:pt x="1245" y="553"/>
                  </a:cubicBezTo>
                  <a:close/>
                  <a:moveTo>
                    <a:pt x="1444" y="326"/>
                  </a:moveTo>
                  <a:cubicBezTo>
                    <a:pt x="1462" y="326"/>
                    <a:pt x="1464" y="310"/>
                    <a:pt x="1455" y="308"/>
                  </a:cubicBezTo>
                  <a:cubicBezTo>
                    <a:pt x="1445" y="307"/>
                    <a:pt x="1437" y="315"/>
                    <a:pt x="1437" y="315"/>
                  </a:cubicBezTo>
                  <a:cubicBezTo>
                    <a:pt x="1423" y="307"/>
                    <a:pt x="1423" y="307"/>
                    <a:pt x="1423" y="307"/>
                  </a:cubicBezTo>
                  <a:cubicBezTo>
                    <a:pt x="1423" y="307"/>
                    <a:pt x="1425" y="326"/>
                    <a:pt x="1444" y="326"/>
                  </a:cubicBezTo>
                  <a:close/>
                  <a:moveTo>
                    <a:pt x="1276" y="363"/>
                  </a:moveTo>
                  <a:cubicBezTo>
                    <a:pt x="1292" y="365"/>
                    <a:pt x="1310" y="340"/>
                    <a:pt x="1321" y="340"/>
                  </a:cubicBezTo>
                  <a:cubicBezTo>
                    <a:pt x="1332" y="340"/>
                    <a:pt x="1403" y="316"/>
                    <a:pt x="1395" y="291"/>
                  </a:cubicBezTo>
                  <a:cubicBezTo>
                    <a:pt x="1387" y="266"/>
                    <a:pt x="1368" y="258"/>
                    <a:pt x="1368" y="258"/>
                  </a:cubicBezTo>
                  <a:cubicBezTo>
                    <a:pt x="1346" y="228"/>
                    <a:pt x="1346" y="228"/>
                    <a:pt x="1346" y="228"/>
                  </a:cubicBezTo>
                  <a:cubicBezTo>
                    <a:pt x="1331" y="255"/>
                    <a:pt x="1331" y="255"/>
                    <a:pt x="1331" y="255"/>
                  </a:cubicBezTo>
                  <a:cubicBezTo>
                    <a:pt x="1320" y="199"/>
                    <a:pt x="1320" y="199"/>
                    <a:pt x="1320" y="199"/>
                  </a:cubicBezTo>
                  <a:cubicBezTo>
                    <a:pt x="1320" y="199"/>
                    <a:pt x="1303" y="219"/>
                    <a:pt x="1296" y="230"/>
                  </a:cubicBezTo>
                  <a:cubicBezTo>
                    <a:pt x="1290" y="241"/>
                    <a:pt x="1298" y="279"/>
                    <a:pt x="1298" y="279"/>
                  </a:cubicBezTo>
                  <a:cubicBezTo>
                    <a:pt x="1287" y="279"/>
                    <a:pt x="1287" y="279"/>
                    <a:pt x="1287" y="279"/>
                  </a:cubicBezTo>
                  <a:cubicBezTo>
                    <a:pt x="1287" y="279"/>
                    <a:pt x="1289" y="326"/>
                    <a:pt x="1282" y="338"/>
                  </a:cubicBezTo>
                  <a:cubicBezTo>
                    <a:pt x="1276" y="351"/>
                    <a:pt x="1260" y="362"/>
                    <a:pt x="1276" y="363"/>
                  </a:cubicBezTo>
                  <a:close/>
                  <a:moveTo>
                    <a:pt x="1158" y="155"/>
                  </a:moveTo>
                  <a:cubicBezTo>
                    <a:pt x="1158" y="186"/>
                    <a:pt x="1158" y="186"/>
                    <a:pt x="1158" y="186"/>
                  </a:cubicBezTo>
                  <a:cubicBezTo>
                    <a:pt x="1132" y="208"/>
                    <a:pt x="1132" y="208"/>
                    <a:pt x="1132" y="208"/>
                  </a:cubicBezTo>
                  <a:cubicBezTo>
                    <a:pt x="1132" y="208"/>
                    <a:pt x="1137" y="210"/>
                    <a:pt x="1149" y="221"/>
                  </a:cubicBezTo>
                  <a:cubicBezTo>
                    <a:pt x="1162" y="232"/>
                    <a:pt x="1166" y="257"/>
                    <a:pt x="1166" y="257"/>
                  </a:cubicBezTo>
                  <a:cubicBezTo>
                    <a:pt x="1180" y="257"/>
                    <a:pt x="1180" y="257"/>
                    <a:pt x="1180" y="257"/>
                  </a:cubicBezTo>
                  <a:cubicBezTo>
                    <a:pt x="1185" y="264"/>
                    <a:pt x="1185" y="264"/>
                    <a:pt x="1185" y="264"/>
                  </a:cubicBezTo>
                  <a:cubicBezTo>
                    <a:pt x="1204" y="264"/>
                    <a:pt x="1204" y="264"/>
                    <a:pt x="1204" y="264"/>
                  </a:cubicBezTo>
                  <a:cubicBezTo>
                    <a:pt x="1226" y="283"/>
                    <a:pt x="1226" y="283"/>
                    <a:pt x="1226" y="283"/>
                  </a:cubicBezTo>
                  <a:cubicBezTo>
                    <a:pt x="1226" y="283"/>
                    <a:pt x="1268" y="268"/>
                    <a:pt x="1270" y="260"/>
                  </a:cubicBezTo>
                  <a:cubicBezTo>
                    <a:pt x="1271" y="252"/>
                    <a:pt x="1252" y="233"/>
                    <a:pt x="1256" y="227"/>
                  </a:cubicBezTo>
                  <a:cubicBezTo>
                    <a:pt x="1259" y="221"/>
                    <a:pt x="1260" y="174"/>
                    <a:pt x="1260" y="174"/>
                  </a:cubicBezTo>
                  <a:cubicBezTo>
                    <a:pt x="1260" y="174"/>
                    <a:pt x="1242" y="145"/>
                    <a:pt x="1234" y="142"/>
                  </a:cubicBezTo>
                  <a:cubicBezTo>
                    <a:pt x="1226" y="139"/>
                    <a:pt x="1232" y="164"/>
                    <a:pt x="1232" y="164"/>
                  </a:cubicBezTo>
                  <a:cubicBezTo>
                    <a:pt x="1232" y="164"/>
                    <a:pt x="1218" y="174"/>
                    <a:pt x="1213" y="174"/>
                  </a:cubicBezTo>
                  <a:cubicBezTo>
                    <a:pt x="1209" y="174"/>
                    <a:pt x="1212" y="136"/>
                    <a:pt x="1212" y="136"/>
                  </a:cubicBezTo>
                  <a:lnTo>
                    <a:pt x="1158" y="155"/>
                  </a:lnTo>
                  <a:close/>
                  <a:moveTo>
                    <a:pt x="1118" y="139"/>
                  </a:moveTo>
                  <a:cubicBezTo>
                    <a:pt x="1143" y="152"/>
                    <a:pt x="1143" y="152"/>
                    <a:pt x="1143" y="152"/>
                  </a:cubicBezTo>
                  <a:cubicBezTo>
                    <a:pt x="1165" y="133"/>
                    <a:pt x="1165" y="133"/>
                    <a:pt x="1165" y="133"/>
                  </a:cubicBezTo>
                  <a:cubicBezTo>
                    <a:pt x="1165" y="133"/>
                    <a:pt x="1196" y="120"/>
                    <a:pt x="1201" y="119"/>
                  </a:cubicBezTo>
                  <a:cubicBezTo>
                    <a:pt x="1205" y="117"/>
                    <a:pt x="1191" y="91"/>
                    <a:pt x="1191" y="84"/>
                  </a:cubicBezTo>
                  <a:cubicBezTo>
                    <a:pt x="1191" y="78"/>
                    <a:pt x="1209" y="72"/>
                    <a:pt x="1209" y="72"/>
                  </a:cubicBezTo>
                  <a:cubicBezTo>
                    <a:pt x="1209" y="72"/>
                    <a:pt x="1212" y="65"/>
                    <a:pt x="1188" y="51"/>
                  </a:cubicBezTo>
                  <a:cubicBezTo>
                    <a:pt x="1165" y="37"/>
                    <a:pt x="1158" y="12"/>
                    <a:pt x="1158" y="12"/>
                  </a:cubicBezTo>
                  <a:cubicBezTo>
                    <a:pt x="1158" y="12"/>
                    <a:pt x="1155" y="23"/>
                    <a:pt x="1155" y="29"/>
                  </a:cubicBezTo>
                  <a:cubicBezTo>
                    <a:pt x="1155" y="36"/>
                    <a:pt x="1140" y="39"/>
                    <a:pt x="1124" y="50"/>
                  </a:cubicBezTo>
                  <a:cubicBezTo>
                    <a:pt x="1108" y="61"/>
                    <a:pt x="1124" y="80"/>
                    <a:pt x="1124" y="92"/>
                  </a:cubicBezTo>
                  <a:cubicBezTo>
                    <a:pt x="1124" y="105"/>
                    <a:pt x="1101" y="116"/>
                    <a:pt x="1097" y="120"/>
                  </a:cubicBezTo>
                  <a:cubicBezTo>
                    <a:pt x="1116" y="125"/>
                    <a:pt x="1116" y="125"/>
                    <a:pt x="1116" y="125"/>
                  </a:cubicBezTo>
                  <a:lnTo>
                    <a:pt x="1118" y="139"/>
                  </a:lnTo>
                  <a:close/>
                  <a:moveTo>
                    <a:pt x="746" y="902"/>
                  </a:moveTo>
                  <a:cubicBezTo>
                    <a:pt x="745" y="872"/>
                    <a:pt x="745" y="872"/>
                    <a:pt x="745" y="872"/>
                  </a:cubicBezTo>
                  <a:cubicBezTo>
                    <a:pt x="726" y="890"/>
                    <a:pt x="726" y="890"/>
                    <a:pt x="726" y="890"/>
                  </a:cubicBezTo>
                  <a:cubicBezTo>
                    <a:pt x="732" y="921"/>
                    <a:pt x="746" y="902"/>
                    <a:pt x="746" y="902"/>
                  </a:cubicBezTo>
                  <a:close/>
                  <a:moveTo>
                    <a:pt x="1671" y="702"/>
                  </a:moveTo>
                  <a:cubicBezTo>
                    <a:pt x="1658" y="703"/>
                    <a:pt x="1650" y="719"/>
                    <a:pt x="1650" y="719"/>
                  </a:cubicBezTo>
                  <a:cubicBezTo>
                    <a:pt x="1627" y="722"/>
                    <a:pt x="1627" y="722"/>
                    <a:pt x="1627" y="722"/>
                  </a:cubicBezTo>
                  <a:cubicBezTo>
                    <a:pt x="1627" y="722"/>
                    <a:pt x="1619" y="752"/>
                    <a:pt x="1625" y="752"/>
                  </a:cubicBezTo>
                  <a:cubicBezTo>
                    <a:pt x="1632" y="752"/>
                    <a:pt x="1654" y="738"/>
                    <a:pt x="1654" y="738"/>
                  </a:cubicBezTo>
                  <a:cubicBezTo>
                    <a:pt x="1654" y="738"/>
                    <a:pt x="1683" y="700"/>
                    <a:pt x="1671" y="702"/>
                  </a:cubicBezTo>
                  <a:close/>
                  <a:moveTo>
                    <a:pt x="1094" y="34"/>
                  </a:moveTo>
                  <a:cubicBezTo>
                    <a:pt x="1085" y="17"/>
                    <a:pt x="1064" y="0"/>
                    <a:pt x="1064" y="29"/>
                  </a:cubicBezTo>
                  <a:cubicBezTo>
                    <a:pt x="1064" y="29"/>
                    <a:pt x="1104" y="51"/>
                    <a:pt x="1094" y="34"/>
                  </a:cubicBezTo>
                  <a:close/>
                  <a:moveTo>
                    <a:pt x="861" y="644"/>
                  </a:moveTo>
                  <a:cubicBezTo>
                    <a:pt x="848" y="630"/>
                    <a:pt x="853" y="634"/>
                    <a:pt x="839" y="644"/>
                  </a:cubicBezTo>
                  <a:cubicBezTo>
                    <a:pt x="853" y="666"/>
                    <a:pt x="853" y="666"/>
                    <a:pt x="853" y="666"/>
                  </a:cubicBezTo>
                  <a:cubicBezTo>
                    <a:pt x="853" y="666"/>
                    <a:pt x="873" y="658"/>
                    <a:pt x="861" y="644"/>
                  </a:cubicBezTo>
                  <a:close/>
                  <a:moveTo>
                    <a:pt x="850" y="778"/>
                  </a:moveTo>
                  <a:cubicBezTo>
                    <a:pt x="881" y="781"/>
                    <a:pt x="881" y="781"/>
                    <a:pt x="881" y="781"/>
                  </a:cubicBezTo>
                  <a:cubicBezTo>
                    <a:pt x="867" y="736"/>
                    <a:pt x="850" y="778"/>
                    <a:pt x="850" y="778"/>
                  </a:cubicBezTo>
                  <a:close/>
                  <a:moveTo>
                    <a:pt x="967" y="733"/>
                  </a:moveTo>
                  <a:cubicBezTo>
                    <a:pt x="967" y="725"/>
                    <a:pt x="959" y="713"/>
                    <a:pt x="959" y="713"/>
                  </a:cubicBezTo>
                  <a:cubicBezTo>
                    <a:pt x="959" y="713"/>
                    <a:pt x="936" y="722"/>
                    <a:pt x="941" y="741"/>
                  </a:cubicBezTo>
                  <a:cubicBezTo>
                    <a:pt x="941" y="741"/>
                    <a:pt x="967" y="741"/>
                    <a:pt x="967" y="733"/>
                  </a:cubicBezTo>
                  <a:close/>
                  <a:moveTo>
                    <a:pt x="892" y="58"/>
                  </a:moveTo>
                  <a:cubicBezTo>
                    <a:pt x="897" y="47"/>
                    <a:pt x="889" y="36"/>
                    <a:pt x="876" y="37"/>
                  </a:cubicBezTo>
                  <a:cubicBezTo>
                    <a:pt x="858" y="40"/>
                    <a:pt x="887" y="69"/>
                    <a:pt x="892" y="58"/>
                  </a:cubicBezTo>
                  <a:close/>
                </a:path>
              </a:pathLst>
            </a:custGeom>
            <a:noFill/>
            <a:ln w="3175" cap="flat" cmpd="sng">
              <a:solidFill>
                <a:srgbClr val="585858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470" name="Freeform 221"/>
            <p:cNvSpPr>
              <a:spLocks noChangeAspect="1" noEditPoints="1"/>
            </p:cNvSpPr>
            <p:nvPr/>
          </p:nvSpPr>
          <p:spPr bwMode="auto">
            <a:xfrm>
              <a:off x="1551" y="1741"/>
              <a:ext cx="1172" cy="1320"/>
            </a:xfrm>
            <a:custGeom>
              <a:avLst/>
              <a:gdLst>
                <a:gd name="T0" fmla="*/ 1188 w 1612"/>
                <a:gd name="T1" fmla="*/ 39 h 1817"/>
                <a:gd name="T2" fmla="*/ 1384 w 1612"/>
                <a:gd name="T3" fmla="*/ 39 h 1817"/>
                <a:gd name="T4" fmla="*/ 1375 w 1612"/>
                <a:gd name="T5" fmla="*/ 163 h 1817"/>
                <a:gd name="T6" fmla="*/ 1326 w 1612"/>
                <a:gd name="T7" fmla="*/ 70 h 1817"/>
                <a:gd name="T8" fmla="*/ 1551 w 1612"/>
                <a:gd name="T9" fmla="*/ 859 h 1817"/>
                <a:gd name="T10" fmla="*/ 1478 w 1612"/>
                <a:gd name="T11" fmla="*/ 697 h 1817"/>
                <a:gd name="T12" fmla="*/ 1503 w 1612"/>
                <a:gd name="T13" fmla="*/ 560 h 1817"/>
                <a:gd name="T14" fmla="*/ 1489 w 1612"/>
                <a:gd name="T15" fmla="*/ 474 h 1817"/>
                <a:gd name="T16" fmla="*/ 1395 w 1612"/>
                <a:gd name="T17" fmla="*/ 424 h 1817"/>
                <a:gd name="T18" fmla="*/ 1436 w 1612"/>
                <a:gd name="T19" fmla="*/ 247 h 1817"/>
                <a:gd name="T20" fmla="*/ 1428 w 1612"/>
                <a:gd name="T21" fmla="*/ 164 h 1817"/>
                <a:gd name="T22" fmla="*/ 1407 w 1612"/>
                <a:gd name="T23" fmla="*/ 211 h 1817"/>
                <a:gd name="T24" fmla="*/ 1399 w 1612"/>
                <a:gd name="T25" fmla="*/ 287 h 1817"/>
                <a:gd name="T26" fmla="*/ 1317 w 1612"/>
                <a:gd name="T27" fmla="*/ 220 h 1817"/>
                <a:gd name="T28" fmla="*/ 1320 w 1612"/>
                <a:gd name="T29" fmla="*/ 155 h 1817"/>
                <a:gd name="T30" fmla="*/ 1245 w 1612"/>
                <a:gd name="T31" fmla="*/ 242 h 1817"/>
                <a:gd name="T32" fmla="*/ 1203 w 1612"/>
                <a:gd name="T33" fmla="*/ 453 h 1817"/>
                <a:gd name="T34" fmla="*/ 1339 w 1612"/>
                <a:gd name="T35" fmla="*/ 572 h 1817"/>
                <a:gd name="T36" fmla="*/ 1294 w 1612"/>
                <a:gd name="T37" fmla="*/ 614 h 1817"/>
                <a:gd name="T38" fmla="*/ 1296 w 1612"/>
                <a:gd name="T39" fmla="*/ 516 h 1817"/>
                <a:gd name="T40" fmla="*/ 1215 w 1612"/>
                <a:gd name="T41" fmla="*/ 590 h 1817"/>
                <a:gd name="T42" fmla="*/ 1098 w 1612"/>
                <a:gd name="T43" fmla="*/ 688 h 1817"/>
                <a:gd name="T44" fmla="*/ 991 w 1612"/>
                <a:gd name="T45" fmla="*/ 665 h 1817"/>
                <a:gd name="T46" fmla="*/ 1011 w 1612"/>
                <a:gd name="T47" fmla="*/ 647 h 1817"/>
                <a:gd name="T48" fmla="*/ 1061 w 1612"/>
                <a:gd name="T49" fmla="*/ 646 h 1817"/>
                <a:gd name="T50" fmla="*/ 1182 w 1612"/>
                <a:gd name="T51" fmla="*/ 508 h 1817"/>
                <a:gd name="T52" fmla="*/ 1211 w 1612"/>
                <a:gd name="T53" fmla="*/ 245 h 1817"/>
                <a:gd name="T54" fmla="*/ 1180 w 1612"/>
                <a:gd name="T55" fmla="*/ 54 h 1817"/>
                <a:gd name="T56" fmla="*/ 1018 w 1612"/>
                <a:gd name="T57" fmla="*/ 222 h 1817"/>
                <a:gd name="T58" fmla="*/ 982 w 1612"/>
                <a:gd name="T59" fmla="*/ 341 h 1817"/>
                <a:gd name="T60" fmla="*/ 1038 w 1612"/>
                <a:gd name="T61" fmla="*/ 432 h 1817"/>
                <a:gd name="T62" fmla="*/ 947 w 1612"/>
                <a:gd name="T63" fmla="*/ 399 h 1817"/>
                <a:gd name="T64" fmla="*/ 886 w 1612"/>
                <a:gd name="T65" fmla="*/ 375 h 1817"/>
                <a:gd name="T66" fmla="*/ 886 w 1612"/>
                <a:gd name="T67" fmla="*/ 515 h 1817"/>
                <a:gd name="T68" fmla="*/ 708 w 1612"/>
                <a:gd name="T69" fmla="*/ 635 h 1817"/>
                <a:gd name="T70" fmla="*/ 524 w 1612"/>
                <a:gd name="T71" fmla="*/ 749 h 1817"/>
                <a:gd name="T72" fmla="*/ 456 w 1612"/>
                <a:gd name="T73" fmla="*/ 879 h 1817"/>
                <a:gd name="T74" fmla="*/ 384 w 1612"/>
                <a:gd name="T75" fmla="*/ 980 h 1817"/>
                <a:gd name="T76" fmla="*/ 286 w 1612"/>
                <a:gd name="T77" fmla="*/ 1222 h 1817"/>
                <a:gd name="T78" fmla="*/ 167 w 1612"/>
                <a:gd name="T79" fmla="*/ 1287 h 1817"/>
                <a:gd name="T80" fmla="*/ 120 w 1612"/>
                <a:gd name="T81" fmla="*/ 1413 h 1817"/>
                <a:gd name="T82" fmla="*/ 154 w 1612"/>
                <a:gd name="T83" fmla="*/ 1461 h 1817"/>
                <a:gd name="T84" fmla="*/ 21 w 1612"/>
                <a:gd name="T85" fmla="*/ 1508 h 1817"/>
                <a:gd name="T86" fmla="*/ 92 w 1612"/>
                <a:gd name="T87" fmla="*/ 1549 h 1817"/>
                <a:gd name="T88" fmla="*/ 130 w 1612"/>
                <a:gd name="T89" fmla="*/ 1579 h 1817"/>
                <a:gd name="T90" fmla="*/ 24 w 1612"/>
                <a:gd name="T91" fmla="*/ 1693 h 1817"/>
                <a:gd name="T92" fmla="*/ 56 w 1612"/>
                <a:gd name="T93" fmla="*/ 1761 h 1817"/>
                <a:gd name="T94" fmla="*/ 112 w 1612"/>
                <a:gd name="T95" fmla="*/ 1762 h 1817"/>
                <a:gd name="T96" fmla="*/ 167 w 1612"/>
                <a:gd name="T97" fmla="*/ 1689 h 1817"/>
                <a:gd name="T98" fmla="*/ 397 w 1612"/>
                <a:gd name="T99" fmla="*/ 1722 h 1817"/>
                <a:gd name="T100" fmla="*/ 713 w 1612"/>
                <a:gd name="T101" fmla="*/ 1726 h 1817"/>
                <a:gd name="T102" fmla="*/ 800 w 1612"/>
                <a:gd name="T103" fmla="*/ 1555 h 1817"/>
                <a:gd name="T104" fmla="*/ 782 w 1612"/>
                <a:gd name="T105" fmla="*/ 1480 h 1817"/>
                <a:gd name="T106" fmla="*/ 901 w 1612"/>
                <a:gd name="T107" fmla="*/ 1506 h 1817"/>
                <a:gd name="T108" fmla="*/ 1102 w 1612"/>
                <a:gd name="T109" fmla="*/ 1396 h 1817"/>
                <a:gd name="T110" fmla="*/ 1261 w 1612"/>
                <a:gd name="T111" fmla="*/ 1296 h 1817"/>
                <a:gd name="T112" fmla="*/ 1384 w 1612"/>
                <a:gd name="T113" fmla="*/ 1331 h 1817"/>
                <a:gd name="T114" fmla="*/ 1509 w 1612"/>
                <a:gd name="T115" fmla="*/ 1323 h 1817"/>
                <a:gd name="T116" fmla="*/ 1523 w 1612"/>
                <a:gd name="T117" fmla="*/ 1188 h 1817"/>
                <a:gd name="T118" fmla="*/ 1605 w 1612"/>
                <a:gd name="T119" fmla="*/ 1012 h 181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612"/>
                <a:gd name="T181" fmla="*/ 0 h 1817"/>
                <a:gd name="T182" fmla="*/ 1612 w 1612"/>
                <a:gd name="T183" fmla="*/ 1817 h 181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612" h="1817">
                  <a:moveTo>
                    <a:pt x="1223" y="23"/>
                  </a:moveTo>
                  <a:cubicBezTo>
                    <a:pt x="1223" y="23"/>
                    <a:pt x="1246" y="9"/>
                    <a:pt x="1229" y="4"/>
                  </a:cubicBezTo>
                  <a:cubicBezTo>
                    <a:pt x="1212" y="0"/>
                    <a:pt x="1196" y="0"/>
                    <a:pt x="1196" y="0"/>
                  </a:cubicBezTo>
                  <a:cubicBezTo>
                    <a:pt x="1190" y="29"/>
                    <a:pt x="1190" y="29"/>
                    <a:pt x="1190" y="29"/>
                  </a:cubicBezTo>
                  <a:cubicBezTo>
                    <a:pt x="1188" y="39"/>
                    <a:pt x="1188" y="39"/>
                    <a:pt x="1188" y="39"/>
                  </a:cubicBezTo>
                  <a:cubicBezTo>
                    <a:pt x="1238" y="37"/>
                    <a:pt x="1238" y="37"/>
                    <a:pt x="1238" y="37"/>
                  </a:cubicBezTo>
                  <a:lnTo>
                    <a:pt x="1223" y="23"/>
                  </a:lnTo>
                  <a:close/>
                  <a:moveTo>
                    <a:pt x="1365" y="20"/>
                  </a:moveTo>
                  <a:cubicBezTo>
                    <a:pt x="1354" y="20"/>
                    <a:pt x="1347" y="37"/>
                    <a:pt x="1347" y="37"/>
                  </a:cubicBezTo>
                  <a:cubicBezTo>
                    <a:pt x="1384" y="39"/>
                    <a:pt x="1384" y="39"/>
                    <a:pt x="1384" y="39"/>
                  </a:cubicBezTo>
                  <a:cubicBezTo>
                    <a:pt x="1384" y="39"/>
                    <a:pt x="1376" y="20"/>
                    <a:pt x="1365" y="20"/>
                  </a:cubicBezTo>
                  <a:close/>
                  <a:moveTo>
                    <a:pt x="1375" y="163"/>
                  </a:moveTo>
                  <a:cubicBezTo>
                    <a:pt x="1420" y="158"/>
                    <a:pt x="1420" y="158"/>
                    <a:pt x="1420" y="158"/>
                  </a:cubicBezTo>
                  <a:cubicBezTo>
                    <a:pt x="1420" y="158"/>
                    <a:pt x="1414" y="120"/>
                    <a:pt x="1398" y="133"/>
                  </a:cubicBezTo>
                  <a:cubicBezTo>
                    <a:pt x="1383" y="145"/>
                    <a:pt x="1364" y="147"/>
                    <a:pt x="1375" y="163"/>
                  </a:cubicBezTo>
                  <a:close/>
                  <a:moveTo>
                    <a:pt x="1326" y="70"/>
                  </a:moveTo>
                  <a:cubicBezTo>
                    <a:pt x="1326" y="70"/>
                    <a:pt x="1326" y="64"/>
                    <a:pt x="1314" y="62"/>
                  </a:cubicBezTo>
                  <a:cubicBezTo>
                    <a:pt x="1307" y="72"/>
                    <a:pt x="1307" y="72"/>
                    <a:pt x="1307" y="72"/>
                  </a:cubicBezTo>
                  <a:cubicBezTo>
                    <a:pt x="1317" y="86"/>
                    <a:pt x="1317" y="86"/>
                    <a:pt x="1317" y="86"/>
                  </a:cubicBezTo>
                  <a:lnTo>
                    <a:pt x="1326" y="70"/>
                  </a:lnTo>
                  <a:close/>
                  <a:moveTo>
                    <a:pt x="1596" y="941"/>
                  </a:moveTo>
                  <a:cubicBezTo>
                    <a:pt x="1596" y="941"/>
                    <a:pt x="1582" y="947"/>
                    <a:pt x="1579" y="949"/>
                  </a:cubicBezTo>
                  <a:cubicBezTo>
                    <a:pt x="1576" y="951"/>
                    <a:pt x="1564" y="934"/>
                    <a:pt x="1564" y="934"/>
                  </a:cubicBezTo>
                  <a:cubicBezTo>
                    <a:pt x="1564" y="934"/>
                    <a:pt x="1546" y="931"/>
                    <a:pt x="1539" y="926"/>
                  </a:cubicBezTo>
                  <a:cubicBezTo>
                    <a:pt x="1532" y="920"/>
                    <a:pt x="1556" y="881"/>
                    <a:pt x="1551" y="859"/>
                  </a:cubicBezTo>
                  <a:cubicBezTo>
                    <a:pt x="1545" y="837"/>
                    <a:pt x="1526" y="842"/>
                    <a:pt x="1513" y="830"/>
                  </a:cubicBezTo>
                  <a:cubicBezTo>
                    <a:pt x="1500" y="817"/>
                    <a:pt x="1519" y="795"/>
                    <a:pt x="1519" y="795"/>
                  </a:cubicBezTo>
                  <a:cubicBezTo>
                    <a:pt x="1500" y="775"/>
                    <a:pt x="1500" y="775"/>
                    <a:pt x="1500" y="775"/>
                  </a:cubicBezTo>
                  <a:cubicBezTo>
                    <a:pt x="1511" y="740"/>
                    <a:pt x="1511" y="740"/>
                    <a:pt x="1511" y="740"/>
                  </a:cubicBezTo>
                  <a:cubicBezTo>
                    <a:pt x="1478" y="697"/>
                    <a:pt x="1478" y="697"/>
                    <a:pt x="1478" y="697"/>
                  </a:cubicBezTo>
                  <a:cubicBezTo>
                    <a:pt x="1478" y="697"/>
                    <a:pt x="1485" y="682"/>
                    <a:pt x="1489" y="671"/>
                  </a:cubicBezTo>
                  <a:cubicBezTo>
                    <a:pt x="1494" y="659"/>
                    <a:pt x="1470" y="624"/>
                    <a:pt x="1470" y="624"/>
                  </a:cubicBezTo>
                  <a:cubicBezTo>
                    <a:pt x="1489" y="624"/>
                    <a:pt x="1489" y="624"/>
                    <a:pt x="1489" y="624"/>
                  </a:cubicBezTo>
                  <a:cubicBezTo>
                    <a:pt x="1489" y="624"/>
                    <a:pt x="1504" y="590"/>
                    <a:pt x="1510" y="582"/>
                  </a:cubicBezTo>
                  <a:cubicBezTo>
                    <a:pt x="1517" y="574"/>
                    <a:pt x="1503" y="560"/>
                    <a:pt x="1503" y="560"/>
                  </a:cubicBezTo>
                  <a:cubicBezTo>
                    <a:pt x="1524" y="554"/>
                    <a:pt x="1524" y="554"/>
                    <a:pt x="1524" y="554"/>
                  </a:cubicBezTo>
                  <a:cubicBezTo>
                    <a:pt x="1524" y="554"/>
                    <a:pt x="1516" y="545"/>
                    <a:pt x="1509" y="537"/>
                  </a:cubicBezTo>
                  <a:cubicBezTo>
                    <a:pt x="1501" y="530"/>
                    <a:pt x="1509" y="510"/>
                    <a:pt x="1509" y="510"/>
                  </a:cubicBezTo>
                  <a:cubicBezTo>
                    <a:pt x="1509" y="510"/>
                    <a:pt x="1499" y="506"/>
                    <a:pt x="1493" y="501"/>
                  </a:cubicBezTo>
                  <a:cubicBezTo>
                    <a:pt x="1487" y="496"/>
                    <a:pt x="1489" y="474"/>
                    <a:pt x="1489" y="474"/>
                  </a:cubicBezTo>
                  <a:cubicBezTo>
                    <a:pt x="1489" y="474"/>
                    <a:pt x="1462" y="495"/>
                    <a:pt x="1460" y="495"/>
                  </a:cubicBezTo>
                  <a:cubicBezTo>
                    <a:pt x="1459" y="495"/>
                    <a:pt x="1445" y="482"/>
                    <a:pt x="1442" y="478"/>
                  </a:cubicBezTo>
                  <a:cubicBezTo>
                    <a:pt x="1440" y="473"/>
                    <a:pt x="1425" y="474"/>
                    <a:pt x="1425" y="473"/>
                  </a:cubicBezTo>
                  <a:cubicBezTo>
                    <a:pt x="1425" y="472"/>
                    <a:pt x="1412" y="449"/>
                    <a:pt x="1412" y="447"/>
                  </a:cubicBezTo>
                  <a:cubicBezTo>
                    <a:pt x="1412" y="445"/>
                    <a:pt x="1402" y="431"/>
                    <a:pt x="1395" y="424"/>
                  </a:cubicBezTo>
                  <a:cubicBezTo>
                    <a:pt x="1389" y="417"/>
                    <a:pt x="1453" y="364"/>
                    <a:pt x="1453" y="364"/>
                  </a:cubicBezTo>
                  <a:cubicBezTo>
                    <a:pt x="1462" y="376"/>
                    <a:pt x="1462" y="376"/>
                    <a:pt x="1462" y="376"/>
                  </a:cubicBezTo>
                  <a:cubicBezTo>
                    <a:pt x="1466" y="311"/>
                    <a:pt x="1466" y="311"/>
                    <a:pt x="1466" y="311"/>
                  </a:cubicBezTo>
                  <a:cubicBezTo>
                    <a:pt x="1425" y="268"/>
                    <a:pt x="1425" y="268"/>
                    <a:pt x="1425" y="268"/>
                  </a:cubicBezTo>
                  <a:cubicBezTo>
                    <a:pt x="1436" y="247"/>
                    <a:pt x="1436" y="247"/>
                    <a:pt x="1436" y="247"/>
                  </a:cubicBezTo>
                  <a:cubicBezTo>
                    <a:pt x="1459" y="245"/>
                    <a:pt x="1459" y="245"/>
                    <a:pt x="1459" y="245"/>
                  </a:cubicBezTo>
                  <a:cubicBezTo>
                    <a:pt x="1469" y="215"/>
                    <a:pt x="1469" y="215"/>
                    <a:pt x="1469" y="215"/>
                  </a:cubicBezTo>
                  <a:cubicBezTo>
                    <a:pt x="1444" y="203"/>
                    <a:pt x="1444" y="203"/>
                    <a:pt x="1444" y="203"/>
                  </a:cubicBezTo>
                  <a:cubicBezTo>
                    <a:pt x="1444" y="203"/>
                    <a:pt x="1425" y="182"/>
                    <a:pt x="1425" y="176"/>
                  </a:cubicBezTo>
                  <a:cubicBezTo>
                    <a:pt x="1425" y="173"/>
                    <a:pt x="1426" y="168"/>
                    <a:pt x="1428" y="164"/>
                  </a:cubicBezTo>
                  <a:cubicBezTo>
                    <a:pt x="1427" y="164"/>
                    <a:pt x="1426" y="164"/>
                    <a:pt x="1425" y="164"/>
                  </a:cubicBezTo>
                  <a:cubicBezTo>
                    <a:pt x="1413" y="162"/>
                    <a:pt x="1407" y="171"/>
                    <a:pt x="1400" y="173"/>
                  </a:cubicBezTo>
                  <a:cubicBezTo>
                    <a:pt x="1394" y="175"/>
                    <a:pt x="1389" y="183"/>
                    <a:pt x="1389" y="184"/>
                  </a:cubicBezTo>
                  <a:cubicBezTo>
                    <a:pt x="1389" y="185"/>
                    <a:pt x="1404" y="189"/>
                    <a:pt x="1404" y="189"/>
                  </a:cubicBezTo>
                  <a:cubicBezTo>
                    <a:pt x="1404" y="189"/>
                    <a:pt x="1408" y="202"/>
                    <a:pt x="1407" y="211"/>
                  </a:cubicBezTo>
                  <a:cubicBezTo>
                    <a:pt x="1406" y="219"/>
                    <a:pt x="1397" y="215"/>
                    <a:pt x="1389" y="214"/>
                  </a:cubicBezTo>
                  <a:cubicBezTo>
                    <a:pt x="1381" y="213"/>
                    <a:pt x="1353" y="187"/>
                    <a:pt x="1346" y="190"/>
                  </a:cubicBezTo>
                  <a:cubicBezTo>
                    <a:pt x="1338" y="192"/>
                    <a:pt x="1339" y="229"/>
                    <a:pt x="1339" y="231"/>
                  </a:cubicBezTo>
                  <a:cubicBezTo>
                    <a:pt x="1339" y="232"/>
                    <a:pt x="1375" y="265"/>
                    <a:pt x="1375" y="265"/>
                  </a:cubicBezTo>
                  <a:cubicBezTo>
                    <a:pt x="1375" y="265"/>
                    <a:pt x="1387" y="274"/>
                    <a:pt x="1399" y="287"/>
                  </a:cubicBezTo>
                  <a:cubicBezTo>
                    <a:pt x="1411" y="300"/>
                    <a:pt x="1411" y="312"/>
                    <a:pt x="1402" y="314"/>
                  </a:cubicBezTo>
                  <a:cubicBezTo>
                    <a:pt x="1394" y="316"/>
                    <a:pt x="1379" y="291"/>
                    <a:pt x="1375" y="282"/>
                  </a:cubicBezTo>
                  <a:cubicBezTo>
                    <a:pt x="1372" y="273"/>
                    <a:pt x="1366" y="280"/>
                    <a:pt x="1353" y="279"/>
                  </a:cubicBezTo>
                  <a:cubicBezTo>
                    <a:pt x="1341" y="277"/>
                    <a:pt x="1304" y="246"/>
                    <a:pt x="1304" y="246"/>
                  </a:cubicBezTo>
                  <a:cubicBezTo>
                    <a:pt x="1317" y="220"/>
                    <a:pt x="1317" y="220"/>
                    <a:pt x="1317" y="220"/>
                  </a:cubicBezTo>
                  <a:cubicBezTo>
                    <a:pt x="1317" y="220"/>
                    <a:pt x="1311" y="211"/>
                    <a:pt x="1308" y="207"/>
                  </a:cubicBezTo>
                  <a:cubicBezTo>
                    <a:pt x="1305" y="204"/>
                    <a:pt x="1329" y="172"/>
                    <a:pt x="1336" y="164"/>
                  </a:cubicBezTo>
                  <a:cubicBezTo>
                    <a:pt x="1343" y="155"/>
                    <a:pt x="1339" y="106"/>
                    <a:pt x="1339" y="105"/>
                  </a:cubicBezTo>
                  <a:cubicBezTo>
                    <a:pt x="1339" y="104"/>
                    <a:pt x="1325" y="98"/>
                    <a:pt x="1325" y="98"/>
                  </a:cubicBezTo>
                  <a:cubicBezTo>
                    <a:pt x="1325" y="98"/>
                    <a:pt x="1320" y="144"/>
                    <a:pt x="1320" y="155"/>
                  </a:cubicBezTo>
                  <a:cubicBezTo>
                    <a:pt x="1320" y="166"/>
                    <a:pt x="1305" y="173"/>
                    <a:pt x="1296" y="179"/>
                  </a:cubicBezTo>
                  <a:cubicBezTo>
                    <a:pt x="1287" y="186"/>
                    <a:pt x="1268" y="183"/>
                    <a:pt x="1265" y="183"/>
                  </a:cubicBezTo>
                  <a:cubicBezTo>
                    <a:pt x="1262" y="183"/>
                    <a:pt x="1259" y="203"/>
                    <a:pt x="1259" y="203"/>
                  </a:cubicBezTo>
                  <a:cubicBezTo>
                    <a:pt x="1259" y="203"/>
                    <a:pt x="1234" y="220"/>
                    <a:pt x="1234" y="222"/>
                  </a:cubicBezTo>
                  <a:cubicBezTo>
                    <a:pt x="1233" y="223"/>
                    <a:pt x="1245" y="242"/>
                    <a:pt x="1245" y="242"/>
                  </a:cubicBezTo>
                  <a:cubicBezTo>
                    <a:pt x="1245" y="242"/>
                    <a:pt x="1248" y="267"/>
                    <a:pt x="1252" y="283"/>
                  </a:cubicBezTo>
                  <a:cubicBezTo>
                    <a:pt x="1257" y="300"/>
                    <a:pt x="1256" y="319"/>
                    <a:pt x="1256" y="319"/>
                  </a:cubicBezTo>
                  <a:cubicBezTo>
                    <a:pt x="1256" y="319"/>
                    <a:pt x="1215" y="373"/>
                    <a:pt x="1211" y="393"/>
                  </a:cubicBezTo>
                  <a:cubicBezTo>
                    <a:pt x="1207" y="413"/>
                    <a:pt x="1214" y="403"/>
                    <a:pt x="1219" y="416"/>
                  </a:cubicBezTo>
                  <a:cubicBezTo>
                    <a:pt x="1223" y="430"/>
                    <a:pt x="1202" y="452"/>
                    <a:pt x="1203" y="453"/>
                  </a:cubicBezTo>
                  <a:cubicBezTo>
                    <a:pt x="1203" y="455"/>
                    <a:pt x="1224" y="457"/>
                    <a:pt x="1229" y="457"/>
                  </a:cubicBezTo>
                  <a:cubicBezTo>
                    <a:pt x="1234" y="457"/>
                    <a:pt x="1234" y="467"/>
                    <a:pt x="1245" y="469"/>
                  </a:cubicBezTo>
                  <a:cubicBezTo>
                    <a:pt x="1256" y="472"/>
                    <a:pt x="1265" y="454"/>
                    <a:pt x="1270" y="454"/>
                  </a:cubicBezTo>
                  <a:cubicBezTo>
                    <a:pt x="1275" y="454"/>
                    <a:pt x="1336" y="508"/>
                    <a:pt x="1336" y="508"/>
                  </a:cubicBezTo>
                  <a:cubicBezTo>
                    <a:pt x="1336" y="508"/>
                    <a:pt x="1341" y="539"/>
                    <a:pt x="1339" y="572"/>
                  </a:cubicBezTo>
                  <a:cubicBezTo>
                    <a:pt x="1317" y="574"/>
                    <a:pt x="1316" y="590"/>
                    <a:pt x="1310" y="600"/>
                  </a:cubicBezTo>
                  <a:cubicBezTo>
                    <a:pt x="1304" y="610"/>
                    <a:pt x="1315" y="612"/>
                    <a:pt x="1322" y="621"/>
                  </a:cubicBezTo>
                  <a:cubicBezTo>
                    <a:pt x="1329" y="631"/>
                    <a:pt x="1348" y="639"/>
                    <a:pt x="1348" y="639"/>
                  </a:cubicBezTo>
                  <a:cubicBezTo>
                    <a:pt x="1348" y="639"/>
                    <a:pt x="1341" y="641"/>
                    <a:pt x="1325" y="641"/>
                  </a:cubicBezTo>
                  <a:cubicBezTo>
                    <a:pt x="1310" y="641"/>
                    <a:pt x="1297" y="620"/>
                    <a:pt x="1294" y="614"/>
                  </a:cubicBezTo>
                  <a:cubicBezTo>
                    <a:pt x="1291" y="608"/>
                    <a:pt x="1300" y="590"/>
                    <a:pt x="1301" y="584"/>
                  </a:cubicBezTo>
                  <a:cubicBezTo>
                    <a:pt x="1302" y="577"/>
                    <a:pt x="1317" y="571"/>
                    <a:pt x="1317" y="571"/>
                  </a:cubicBezTo>
                  <a:cubicBezTo>
                    <a:pt x="1304" y="559"/>
                    <a:pt x="1304" y="559"/>
                    <a:pt x="1304" y="559"/>
                  </a:cubicBezTo>
                  <a:cubicBezTo>
                    <a:pt x="1304" y="559"/>
                    <a:pt x="1314" y="550"/>
                    <a:pt x="1315" y="542"/>
                  </a:cubicBezTo>
                  <a:cubicBezTo>
                    <a:pt x="1315" y="534"/>
                    <a:pt x="1296" y="516"/>
                    <a:pt x="1296" y="516"/>
                  </a:cubicBezTo>
                  <a:cubicBezTo>
                    <a:pt x="1296" y="516"/>
                    <a:pt x="1291" y="490"/>
                    <a:pt x="1291" y="489"/>
                  </a:cubicBezTo>
                  <a:cubicBezTo>
                    <a:pt x="1291" y="487"/>
                    <a:pt x="1231" y="496"/>
                    <a:pt x="1221" y="498"/>
                  </a:cubicBezTo>
                  <a:cubicBezTo>
                    <a:pt x="1211" y="500"/>
                    <a:pt x="1209" y="527"/>
                    <a:pt x="1208" y="534"/>
                  </a:cubicBezTo>
                  <a:cubicBezTo>
                    <a:pt x="1207" y="541"/>
                    <a:pt x="1209" y="542"/>
                    <a:pt x="1215" y="547"/>
                  </a:cubicBezTo>
                  <a:cubicBezTo>
                    <a:pt x="1220" y="553"/>
                    <a:pt x="1216" y="581"/>
                    <a:pt x="1215" y="590"/>
                  </a:cubicBezTo>
                  <a:cubicBezTo>
                    <a:pt x="1215" y="599"/>
                    <a:pt x="1198" y="606"/>
                    <a:pt x="1189" y="611"/>
                  </a:cubicBezTo>
                  <a:cubicBezTo>
                    <a:pt x="1180" y="615"/>
                    <a:pt x="1171" y="632"/>
                    <a:pt x="1171" y="641"/>
                  </a:cubicBezTo>
                  <a:cubicBezTo>
                    <a:pt x="1171" y="650"/>
                    <a:pt x="1156" y="667"/>
                    <a:pt x="1142" y="672"/>
                  </a:cubicBezTo>
                  <a:cubicBezTo>
                    <a:pt x="1128" y="677"/>
                    <a:pt x="1123" y="683"/>
                    <a:pt x="1123" y="683"/>
                  </a:cubicBezTo>
                  <a:cubicBezTo>
                    <a:pt x="1098" y="688"/>
                    <a:pt x="1098" y="688"/>
                    <a:pt x="1098" y="688"/>
                  </a:cubicBezTo>
                  <a:cubicBezTo>
                    <a:pt x="1098" y="688"/>
                    <a:pt x="1087" y="709"/>
                    <a:pt x="1073" y="715"/>
                  </a:cubicBezTo>
                  <a:cubicBezTo>
                    <a:pt x="1060" y="721"/>
                    <a:pt x="1049" y="693"/>
                    <a:pt x="1049" y="693"/>
                  </a:cubicBezTo>
                  <a:cubicBezTo>
                    <a:pt x="1049" y="693"/>
                    <a:pt x="1021" y="696"/>
                    <a:pt x="1005" y="689"/>
                  </a:cubicBezTo>
                  <a:cubicBezTo>
                    <a:pt x="988" y="682"/>
                    <a:pt x="1002" y="665"/>
                    <a:pt x="1002" y="665"/>
                  </a:cubicBezTo>
                  <a:cubicBezTo>
                    <a:pt x="991" y="665"/>
                    <a:pt x="991" y="665"/>
                    <a:pt x="991" y="665"/>
                  </a:cubicBezTo>
                  <a:cubicBezTo>
                    <a:pt x="986" y="654"/>
                    <a:pt x="986" y="654"/>
                    <a:pt x="986" y="654"/>
                  </a:cubicBezTo>
                  <a:cubicBezTo>
                    <a:pt x="986" y="654"/>
                    <a:pt x="980" y="659"/>
                    <a:pt x="969" y="652"/>
                  </a:cubicBezTo>
                  <a:cubicBezTo>
                    <a:pt x="958" y="644"/>
                    <a:pt x="968" y="630"/>
                    <a:pt x="973" y="625"/>
                  </a:cubicBezTo>
                  <a:cubicBezTo>
                    <a:pt x="978" y="620"/>
                    <a:pt x="980" y="632"/>
                    <a:pt x="987" y="636"/>
                  </a:cubicBezTo>
                  <a:cubicBezTo>
                    <a:pt x="994" y="640"/>
                    <a:pt x="1008" y="644"/>
                    <a:pt x="1011" y="647"/>
                  </a:cubicBezTo>
                  <a:cubicBezTo>
                    <a:pt x="1013" y="649"/>
                    <a:pt x="1027" y="661"/>
                    <a:pt x="1030" y="662"/>
                  </a:cubicBezTo>
                  <a:cubicBezTo>
                    <a:pt x="1032" y="663"/>
                    <a:pt x="1032" y="675"/>
                    <a:pt x="1038" y="673"/>
                  </a:cubicBezTo>
                  <a:cubicBezTo>
                    <a:pt x="1044" y="670"/>
                    <a:pt x="1063" y="667"/>
                    <a:pt x="1063" y="667"/>
                  </a:cubicBezTo>
                  <a:cubicBezTo>
                    <a:pt x="1042" y="654"/>
                    <a:pt x="1042" y="654"/>
                    <a:pt x="1042" y="654"/>
                  </a:cubicBezTo>
                  <a:cubicBezTo>
                    <a:pt x="1042" y="654"/>
                    <a:pt x="1050" y="651"/>
                    <a:pt x="1061" y="646"/>
                  </a:cubicBezTo>
                  <a:cubicBezTo>
                    <a:pt x="1072" y="640"/>
                    <a:pt x="1086" y="642"/>
                    <a:pt x="1086" y="642"/>
                  </a:cubicBezTo>
                  <a:cubicBezTo>
                    <a:pt x="1092" y="623"/>
                    <a:pt x="1131" y="591"/>
                    <a:pt x="1131" y="591"/>
                  </a:cubicBezTo>
                  <a:cubicBezTo>
                    <a:pt x="1131" y="591"/>
                    <a:pt x="1140" y="593"/>
                    <a:pt x="1149" y="584"/>
                  </a:cubicBezTo>
                  <a:cubicBezTo>
                    <a:pt x="1159" y="574"/>
                    <a:pt x="1151" y="553"/>
                    <a:pt x="1155" y="543"/>
                  </a:cubicBezTo>
                  <a:cubicBezTo>
                    <a:pt x="1159" y="533"/>
                    <a:pt x="1180" y="515"/>
                    <a:pt x="1182" y="508"/>
                  </a:cubicBezTo>
                  <a:cubicBezTo>
                    <a:pt x="1184" y="500"/>
                    <a:pt x="1157" y="463"/>
                    <a:pt x="1157" y="450"/>
                  </a:cubicBezTo>
                  <a:cubicBezTo>
                    <a:pt x="1157" y="437"/>
                    <a:pt x="1172" y="398"/>
                    <a:pt x="1180" y="384"/>
                  </a:cubicBezTo>
                  <a:cubicBezTo>
                    <a:pt x="1189" y="370"/>
                    <a:pt x="1185" y="331"/>
                    <a:pt x="1189" y="323"/>
                  </a:cubicBezTo>
                  <a:cubicBezTo>
                    <a:pt x="1193" y="314"/>
                    <a:pt x="1205" y="296"/>
                    <a:pt x="1209" y="292"/>
                  </a:cubicBezTo>
                  <a:cubicBezTo>
                    <a:pt x="1212" y="287"/>
                    <a:pt x="1211" y="245"/>
                    <a:pt x="1211" y="245"/>
                  </a:cubicBezTo>
                  <a:cubicBezTo>
                    <a:pt x="1211" y="245"/>
                    <a:pt x="1189" y="217"/>
                    <a:pt x="1197" y="211"/>
                  </a:cubicBezTo>
                  <a:cubicBezTo>
                    <a:pt x="1205" y="206"/>
                    <a:pt x="1243" y="150"/>
                    <a:pt x="1248" y="141"/>
                  </a:cubicBezTo>
                  <a:cubicBezTo>
                    <a:pt x="1252" y="133"/>
                    <a:pt x="1252" y="124"/>
                    <a:pt x="1252" y="124"/>
                  </a:cubicBezTo>
                  <a:cubicBezTo>
                    <a:pt x="1252" y="124"/>
                    <a:pt x="1253" y="109"/>
                    <a:pt x="1256" y="91"/>
                  </a:cubicBezTo>
                  <a:cubicBezTo>
                    <a:pt x="1258" y="73"/>
                    <a:pt x="1196" y="59"/>
                    <a:pt x="1180" y="54"/>
                  </a:cubicBezTo>
                  <a:cubicBezTo>
                    <a:pt x="1166" y="49"/>
                    <a:pt x="1170" y="43"/>
                    <a:pt x="1171" y="42"/>
                  </a:cubicBezTo>
                  <a:cubicBezTo>
                    <a:pt x="1170" y="43"/>
                    <a:pt x="1165" y="49"/>
                    <a:pt x="1162" y="50"/>
                  </a:cubicBezTo>
                  <a:cubicBezTo>
                    <a:pt x="1149" y="59"/>
                    <a:pt x="1109" y="143"/>
                    <a:pt x="1099" y="155"/>
                  </a:cubicBezTo>
                  <a:cubicBezTo>
                    <a:pt x="1089" y="166"/>
                    <a:pt x="1046" y="184"/>
                    <a:pt x="1040" y="188"/>
                  </a:cubicBezTo>
                  <a:cubicBezTo>
                    <a:pt x="1033" y="191"/>
                    <a:pt x="1020" y="213"/>
                    <a:pt x="1018" y="222"/>
                  </a:cubicBezTo>
                  <a:cubicBezTo>
                    <a:pt x="1016" y="231"/>
                    <a:pt x="1036" y="229"/>
                    <a:pt x="1040" y="234"/>
                  </a:cubicBezTo>
                  <a:cubicBezTo>
                    <a:pt x="1043" y="239"/>
                    <a:pt x="1030" y="245"/>
                    <a:pt x="1022" y="260"/>
                  </a:cubicBezTo>
                  <a:cubicBezTo>
                    <a:pt x="1013" y="275"/>
                    <a:pt x="1017" y="305"/>
                    <a:pt x="1017" y="305"/>
                  </a:cubicBezTo>
                  <a:cubicBezTo>
                    <a:pt x="1017" y="305"/>
                    <a:pt x="998" y="307"/>
                    <a:pt x="989" y="311"/>
                  </a:cubicBezTo>
                  <a:cubicBezTo>
                    <a:pt x="980" y="316"/>
                    <a:pt x="982" y="341"/>
                    <a:pt x="982" y="341"/>
                  </a:cubicBezTo>
                  <a:cubicBezTo>
                    <a:pt x="991" y="335"/>
                    <a:pt x="991" y="335"/>
                    <a:pt x="991" y="335"/>
                  </a:cubicBezTo>
                  <a:cubicBezTo>
                    <a:pt x="991" y="335"/>
                    <a:pt x="1015" y="359"/>
                    <a:pt x="1019" y="365"/>
                  </a:cubicBezTo>
                  <a:cubicBezTo>
                    <a:pt x="1023" y="371"/>
                    <a:pt x="1015" y="378"/>
                    <a:pt x="1015" y="378"/>
                  </a:cubicBezTo>
                  <a:cubicBezTo>
                    <a:pt x="1015" y="378"/>
                    <a:pt x="1013" y="395"/>
                    <a:pt x="1013" y="416"/>
                  </a:cubicBezTo>
                  <a:cubicBezTo>
                    <a:pt x="1012" y="437"/>
                    <a:pt x="1038" y="432"/>
                    <a:pt x="1038" y="432"/>
                  </a:cubicBezTo>
                  <a:cubicBezTo>
                    <a:pt x="1038" y="432"/>
                    <a:pt x="1012" y="485"/>
                    <a:pt x="991" y="484"/>
                  </a:cubicBezTo>
                  <a:cubicBezTo>
                    <a:pt x="970" y="482"/>
                    <a:pt x="988" y="469"/>
                    <a:pt x="988" y="469"/>
                  </a:cubicBezTo>
                  <a:cubicBezTo>
                    <a:pt x="988" y="469"/>
                    <a:pt x="984" y="457"/>
                    <a:pt x="974" y="449"/>
                  </a:cubicBezTo>
                  <a:cubicBezTo>
                    <a:pt x="964" y="441"/>
                    <a:pt x="966" y="417"/>
                    <a:pt x="966" y="417"/>
                  </a:cubicBezTo>
                  <a:cubicBezTo>
                    <a:pt x="966" y="417"/>
                    <a:pt x="951" y="404"/>
                    <a:pt x="947" y="399"/>
                  </a:cubicBezTo>
                  <a:cubicBezTo>
                    <a:pt x="943" y="393"/>
                    <a:pt x="932" y="378"/>
                    <a:pt x="932" y="378"/>
                  </a:cubicBezTo>
                  <a:cubicBezTo>
                    <a:pt x="932" y="378"/>
                    <a:pt x="921" y="368"/>
                    <a:pt x="917" y="362"/>
                  </a:cubicBezTo>
                  <a:cubicBezTo>
                    <a:pt x="914" y="359"/>
                    <a:pt x="907" y="345"/>
                    <a:pt x="900" y="332"/>
                  </a:cubicBezTo>
                  <a:cubicBezTo>
                    <a:pt x="904" y="344"/>
                    <a:pt x="907" y="352"/>
                    <a:pt x="907" y="352"/>
                  </a:cubicBezTo>
                  <a:cubicBezTo>
                    <a:pt x="886" y="375"/>
                    <a:pt x="886" y="375"/>
                    <a:pt x="886" y="375"/>
                  </a:cubicBezTo>
                  <a:cubicBezTo>
                    <a:pt x="902" y="397"/>
                    <a:pt x="902" y="397"/>
                    <a:pt x="902" y="397"/>
                  </a:cubicBezTo>
                  <a:cubicBezTo>
                    <a:pt x="902" y="397"/>
                    <a:pt x="906" y="423"/>
                    <a:pt x="906" y="426"/>
                  </a:cubicBezTo>
                  <a:cubicBezTo>
                    <a:pt x="906" y="429"/>
                    <a:pt x="878" y="463"/>
                    <a:pt x="878" y="472"/>
                  </a:cubicBezTo>
                  <a:cubicBezTo>
                    <a:pt x="877" y="481"/>
                    <a:pt x="900" y="492"/>
                    <a:pt x="902" y="500"/>
                  </a:cubicBezTo>
                  <a:cubicBezTo>
                    <a:pt x="905" y="508"/>
                    <a:pt x="888" y="515"/>
                    <a:pt x="886" y="515"/>
                  </a:cubicBezTo>
                  <a:cubicBezTo>
                    <a:pt x="884" y="516"/>
                    <a:pt x="886" y="529"/>
                    <a:pt x="886" y="529"/>
                  </a:cubicBezTo>
                  <a:cubicBezTo>
                    <a:pt x="886" y="529"/>
                    <a:pt x="869" y="541"/>
                    <a:pt x="844" y="551"/>
                  </a:cubicBezTo>
                  <a:cubicBezTo>
                    <a:pt x="818" y="561"/>
                    <a:pt x="834" y="575"/>
                    <a:pt x="834" y="575"/>
                  </a:cubicBezTo>
                  <a:cubicBezTo>
                    <a:pt x="834" y="575"/>
                    <a:pt x="792" y="585"/>
                    <a:pt x="767" y="587"/>
                  </a:cubicBezTo>
                  <a:cubicBezTo>
                    <a:pt x="742" y="589"/>
                    <a:pt x="708" y="635"/>
                    <a:pt x="708" y="635"/>
                  </a:cubicBezTo>
                  <a:cubicBezTo>
                    <a:pt x="708" y="635"/>
                    <a:pt x="674" y="639"/>
                    <a:pt x="660" y="637"/>
                  </a:cubicBezTo>
                  <a:cubicBezTo>
                    <a:pt x="646" y="635"/>
                    <a:pt x="616" y="679"/>
                    <a:pt x="598" y="680"/>
                  </a:cubicBezTo>
                  <a:cubicBezTo>
                    <a:pt x="581" y="681"/>
                    <a:pt x="582" y="659"/>
                    <a:pt x="582" y="659"/>
                  </a:cubicBezTo>
                  <a:cubicBezTo>
                    <a:pt x="582" y="659"/>
                    <a:pt x="537" y="688"/>
                    <a:pt x="533" y="694"/>
                  </a:cubicBezTo>
                  <a:cubicBezTo>
                    <a:pt x="529" y="700"/>
                    <a:pt x="524" y="746"/>
                    <a:pt x="524" y="749"/>
                  </a:cubicBezTo>
                  <a:cubicBezTo>
                    <a:pt x="524" y="751"/>
                    <a:pt x="516" y="751"/>
                    <a:pt x="510" y="754"/>
                  </a:cubicBezTo>
                  <a:cubicBezTo>
                    <a:pt x="503" y="757"/>
                    <a:pt x="460" y="823"/>
                    <a:pt x="460" y="827"/>
                  </a:cubicBezTo>
                  <a:cubicBezTo>
                    <a:pt x="460" y="831"/>
                    <a:pt x="465" y="843"/>
                    <a:pt x="466" y="845"/>
                  </a:cubicBezTo>
                  <a:cubicBezTo>
                    <a:pt x="466" y="847"/>
                    <a:pt x="454" y="855"/>
                    <a:pt x="454" y="859"/>
                  </a:cubicBezTo>
                  <a:cubicBezTo>
                    <a:pt x="454" y="863"/>
                    <a:pt x="456" y="879"/>
                    <a:pt x="456" y="879"/>
                  </a:cubicBezTo>
                  <a:cubicBezTo>
                    <a:pt x="428" y="907"/>
                    <a:pt x="428" y="907"/>
                    <a:pt x="428" y="907"/>
                  </a:cubicBezTo>
                  <a:cubicBezTo>
                    <a:pt x="428" y="907"/>
                    <a:pt x="426" y="923"/>
                    <a:pt x="425" y="925"/>
                  </a:cubicBezTo>
                  <a:cubicBezTo>
                    <a:pt x="424" y="928"/>
                    <a:pt x="409" y="943"/>
                    <a:pt x="409" y="943"/>
                  </a:cubicBezTo>
                  <a:cubicBezTo>
                    <a:pt x="409" y="943"/>
                    <a:pt x="408" y="948"/>
                    <a:pt x="408" y="959"/>
                  </a:cubicBezTo>
                  <a:cubicBezTo>
                    <a:pt x="408" y="971"/>
                    <a:pt x="384" y="980"/>
                    <a:pt x="384" y="980"/>
                  </a:cubicBezTo>
                  <a:cubicBezTo>
                    <a:pt x="390" y="1012"/>
                    <a:pt x="366" y="1034"/>
                    <a:pt x="344" y="1062"/>
                  </a:cubicBezTo>
                  <a:cubicBezTo>
                    <a:pt x="323" y="1090"/>
                    <a:pt x="286" y="1111"/>
                    <a:pt x="276" y="1115"/>
                  </a:cubicBezTo>
                  <a:cubicBezTo>
                    <a:pt x="266" y="1119"/>
                    <a:pt x="293" y="1153"/>
                    <a:pt x="296" y="1165"/>
                  </a:cubicBezTo>
                  <a:cubicBezTo>
                    <a:pt x="298" y="1176"/>
                    <a:pt x="280" y="1187"/>
                    <a:pt x="278" y="1190"/>
                  </a:cubicBezTo>
                  <a:cubicBezTo>
                    <a:pt x="277" y="1193"/>
                    <a:pt x="283" y="1199"/>
                    <a:pt x="286" y="1222"/>
                  </a:cubicBezTo>
                  <a:cubicBezTo>
                    <a:pt x="290" y="1245"/>
                    <a:pt x="246" y="1238"/>
                    <a:pt x="240" y="1238"/>
                  </a:cubicBezTo>
                  <a:cubicBezTo>
                    <a:pt x="234" y="1238"/>
                    <a:pt x="222" y="1253"/>
                    <a:pt x="222" y="1255"/>
                  </a:cubicBezTo>
                  <a:cubicBezTo>
                    <a:pt x="222" y="1257"/>
                    <a:pt x="228" y="1275"/>
                    <a:pt x="224" y="1279"/>
                  </a:cubicBezTo>
                  <a:cubicBezTo>
                    <a:pt x="220" y="1284"/>
                    <a:pt x="186" y="1275"/>
                    <a:pt x="186" y="1275"/>
                  </a:cubicBezTo>
                  <a:cubicBezTo>
                    <a:pt x="167" y="1287"/>
                    <a:pt x="167" y="1287"/>
                    <a:pt x="167" y="1287"/>
                  </a:cubicBezTo>
                  <a:cubicBezTo>
                    <a:pt x="167" y="1287"/>
                    <a:pt x="156" y="1322"/>
                    <a:pt x="140" y="1325"/>
                  </a:cubicBezTo>
                  <a:cubicBezTo>
                    <a:pt x="125" y="1329"/>
                    <a:pt x="127" y="1315"/>
                    <a:pt x="118" y="1316"/>
                  </a:cubicBezTo>
                  <a:cubicBezTo>
                    <a:pt x="108" y="1317"/>
                    <a:pt x="110" y="1335"/>
                    <a:pt x="108" y="1345"/>
                  </a:cubicBezTo>
                  <a:cubicBezTo>
                    <a:pt x="107" y="1356"/>
                    <a:pt x="82" y="1371"/>
                    <a:pt x="82" y="1373"/>
                  </a:cubicBezTo>
                  <a:cubicBezTo>
                    <a:pt x="82" y="1375"/>
                    <a:pt x="119" y="1411"/>
                    <a:pt x="120" y="1413"/>
                  </a:cubicBezTo>
                  <a:cubicBezTo>
                    <a:pt x="120" y="1416"/>
                    <a:pt x="132" y="1409"/>
                    <a:pt x="138" y="1409"/>
                  </a:cubicBezTo>
                  <a:cubicBezTo>
                    <a:pt x="144" y="1409"/>
                    <a:pt x="146" y="1415"/>
                    <a:pt x="153" y="1422"/>
                  </a:cubicBezTo>
                  <a:cubicBezTo>
                    <a:pt x="160" y="1429"/>
                    <a:pt x="171" y="1419"/>
                    <a:pt x="171" y="1419"/>
                  </a:cubicBezTo>
                  <a:cubicBezTo>
                    <a:pt x="169" y="1443"/>
                    <a:pt x="169" y="1443"/>
                    <a:pt x="169" y="1443"/>
                  </a:cubicBezTo>
                  <a:cubicBezTo>
                    <a:pt x="169" y="1443"/>
                    <a:pt x="160" y="1455"/>
                    <a:pt x="154" y="1461"/>
                  </a:cubicBezTo>
                  <a:cubicBezTo>
                    <a:pt x="148" y="1466"/>
                    <a:pt x="164" y="1485"/>
                    <a:pt x="166" y="1491"/>
                  </a:cubicBezTo>
                  <a:cubicBezTo>
                    <a:pt x="168" y="1497"/>
                    <a:pt x="111" y="1504"/>
                    <a:pt x="111" y="1504"/>
                  </a:cubicBezTo>
                  <a:cubicBezTo>
                    <a:pt x="111" y="1504"/>
                    <a:pt x="90" y="1483"/>
                    <a:pt x="88" y="1481"/>
                  </a:cubicBezTo>
                  <a:cubicBezTo>
                    <a:pt x="86" y="1479"/>
                    <a:pt x="52" y="1453"/>
                    <a:pt x="52" y="1453"/>
                  </a:cubicBezTo>
                  <a:cubicBezTo>
                    <a:pt x="52" y="1453"/>
                    <a:pt x="17" y="1496"/>
                    <a:pt x="21" y="1508"/>
                  </a:cubicBezTo>
                  <a:cubicBezTo>
                    <a:pt x="25" y="1520"/>
                    <a:pt x="22" y="1534"/>
                    <a:pt x="22" y="1534"/>
                  </a:cubicBezTo>
                  <a:cubicBezTo>
                    <a:pt x="38" y="1545"/>
                    <a:pt x="38" y="1545"/>
                    <a:pt x="38" y="1545"/>
                  </a:cubicBezTo>
                  <a:cubicBezTo>
                    <a:pt x="38" y="1545"/>
                    <a:pt x="48" y="1545"/>
                    <a:pt x="57" y="1545"/>
                  </a:cubicBezTo>
                  <a:cubicBezTo>
                    <a:pt x="66" y="1545"/>
                    <a:pt x="74" y="1558"/>
                    <a:pt x="76" y="1558"/>
                  </a:cubicBezTo>
                  <a:cubicBezTo>
                    <a:pt x="78" y="1558"/>
                    <a:pt x="90" y="1549"/>
                    <a:pt x="92" y="1549"/>
                  </a:cubicBezTo>
                  <a:cubicBezTo>
                    <a:pt x="95" y="1548"/>
                    <a:pt x="96" y="1551"/>
                    <a:pt x="108" y="1556"/>
                  </a:cubicBezTo>
                  <a:cubicBezTo>
                    <a:pt x="121" y="1561"/>
                    <a:pt x="140" y="1545"/>
                    <a:pt x="140" y="1545"/>
                  </a:cubicBezTo>
                  <a:cubicBezTo>
                    <a:pt x="159" y="1557"/>
                    <a:pt x="159" y="1557"/>
                    <a:pt x="159" y="1557"/>
                  </a:cubicBezTo>
                  <a:cubicBezTo>
                    <a:pt x="148" y="1573"/>
                    <a:pt x="148" y="1573"/>
                    <a:pt x="148" y="1573"/>
                  </a:cubicBezTo>
                  <a:cubicBezTo>
                    <a:pt x="130" y="1579"/>
                    <a:pt x="130" y="1579"/>
                    <a:pt x="130" y="1579"/>
                  </a:cubicBezTo>
                  <a:cubicBezTo>
                    <a:pt x="120" y="1614"/>
                    <a:pt x="120" y="1614"/>
                    <a:pt x="120" y="1614"/>
                  </a:cubicBezTo>
                  <a:cubicBezTo>
                    <a:pt x="108" y="1603"/>
                    <a:pt x="108" y="1603"/>
                    <a:pt x="108" y="1603"/>
                  </a:cubicBezTo>
                  <a:cubicBezTo>
                    <a:pt x="108" y="1603"/>
                    <a:pt x="64" y="1617"/>
                    <a:pt x="58" y="1629"/>
                  </a:cubicBezTo>
                  <a:cubicBezTo>
                    <a:pt x="51" y="1642"/>
                    <a:pt x="36" y="1694"/>
                    <a:pt x="36" y="1694"/>
                  </a:cubicBezTo>
                  <a:cubicBezTo>
                    <a:pt x="24" y="1693"/>
                    <a:pt x="24" y="1693"/>
                    <a:pt x="24" y="1693"/>
                  </a:cubicBezTo>
                  <a:cubicBezTo>
                    <a:pt x="24" y="1693"/>
                    <a:pt x="0" y="1735"/>
                    <a:pt x="0" y="1742"/>
                  </a:cubicBezTo>
                  <a:cubicBezTo>
                    <a:pt x="0" y="1749"/>
                    <a:pt x="14" y="1755"/>
                    <a:pt x="14" y="1755"/>
                  </a:cubicBezTo>
                  <a:cubicBezTo>
                    <a:pt x="14" y="1755"/>
                    <a:pt x="19" y="1748"/>
                    <a:pt x="28" y="1747"/>
                  </a:cubicBezTo>
                  <a:cubicBezTo>
                    <a:pt x="38" y="1747"/>
                    <a:pt x="40" y="1761"/>
                    <a:pt x="40" y="1761"/>
                  </a:cubicBezTo>
                  <a:cubicBezTo>
                    <a:pt x="56" y="1761"/>
                    <a:pt x="56" y="1761"/>
                    <a:pt x="56" y="1761"/>
                  </a:cubicBezTo>
                  <a:cubicBezTo>
                    <a:pt x="56" y="1761"/>
                    <a:pt x="66" y="1775"/>
                    <a:pt x="70" y="1781"/>
                  </a:cubicBezTo>
                  <a:cubicBezTo>
                    <a:pt x="74" y="1788"/>
                    <a:pt x="50" y="1793"/>
                    <a:pt x="42" y="1799"/>
                  </a:cubicBezTo>
                  <a:cubicBezTo>
                    <a:pt x="39" y="1802"/>
                    <a:pt x="44" y="1808"/>
                    <a:pt x="50" y="1813"/>
                  </a:cubicBezTo>
                  <a:cubicBezTo>
                    <a:pt x="59" y="1814"/>
                    <a:pt x="91" y="1817"/>
                    <a:pt x="109" y="1804"/>
                  </a:cubicBezTo>
                  <a:cubicBezTo>
                    <a:pt x="130" y="1788"/>
                    <a:pt x="112" y="1762"/>
                    <a:pt x="112" y="1762"/>
                  </a:cubicBezTo>
                  <a:cubicBezTo>
                    <a:pt x="112" y="1762"/>
                    <a:pt x="141" y="1752"/>
                    <a:pt x="149" y="1752"/>
                  </a:cubicBezTo>
                  <a:cubicBezTo>
                    <a:pt x="157" y="1752"/>
                    <a:pt x="197" y="1776"/>
                    <a:pt x="211" y="1768"/>
                  </a:cubicBezTo>
                  <a:cubicBezTo>
                    <a:pt x="224" y="1761"/>
                    <a:pt x="171" y="1722"/>
                    <a:pt x="171" y="1722"/>
                  </a:cubicBezTo>
                  <a:cubicBezTo>
                    <a:pt x="191" y="1710"/>
                    <a:pt x="191" y="1710"/>
                    <a:pt x="191" y="1710"/>
                  </a:cubicBezTo>
                  <a:cubicBezTo>
                    <a:pt x="167" y="1689"/>
                    <a:pt x="167" y="1689"/>
                    <a:pt x="167" y="1689"/>
                  </a:cubicBezTo>
                  <a:cubicBezTo>
                    <a:pt x="167" y="1689"/>
                    <a:pt x="177" y="1661"/>
                    <a:pt x="179" y="1661"/>
                  </a:cubicBezTo>
                  <a:cubicBezTo>
                    <a:pt x="181" y="1661"/>
                    <a:pt x="195" y="1658"/>
                    <a:pt x="195" y="1658"/>
                  </a:cubicBezTo>
                  <a:cubicBezTo>
                    <a:pt x="249" y="1693"/>
                    <a:pt x="249" y="1693"/>
                    <a:pt x="249" y="1693"/>
                  </a:cubicBezTo>
                  <a:cubicBezTo>
                    <a:pt x="249" y="1693"/>
                    <a:pt x="342" y="1703"/>
                    <a:pt x="366" y="1697"/>
                  </a:cubicBezTo>
                  <a:cubicBezTo>
                    <a:pt x="390" y="1691"/>
                    <a:pt x="397" y="1722"/>
                    <a:pt x="397" y="1722"/>
                  </a:cubicBezTo>
                  <a:cubicBezTo>
                    <a:pt x="422" y="1694"/>
                    <a:pt x="422" y="1694"/>
                    <a:pt x="422" y="1694"/>
                  </a:cubicBezTo>
                  <a:cubicBezTo>
                    <a:pt x="422" y="1694"/>
                    <a:pt x="576" y="1712"/>
                    <a:pt x="584" y="1712"/>
                  </a:cubicBezTo>
                  <a:cubicBezTo>
                    <a:pt x="592" y="1712"/>
                    <a:pt x="611" y="1686"/>
                    <a:pt x="639" y="1683"/>
                  </a:cubicBezTo>
                  <a:cubicBezTo>
                    <a:pt x="667" y="1681"/>
                    <a:pt x="695" y="1731"/>
                    <a:pt x="695" y="1731"/>
                  </a:cubicBezTo>
                  <a:cubicBezTo>
                    <a:pt x="695" y="1731"/>
                    <a:pt x="703" y="1727"/>
                    <a:pt x="713" y="1726"/>
                  </a:cubicBezTo>
                  <a:cubicBezTo>
                    <a:pt x="718" y="1712"/>
                    <a:pt x="730" y="1685"/>
                    <a:pt x="732" y="1677"/>
                  </a:cubicBezTo>
                  <a:cubicBezTo>
                    <a:pt x="735" y="1666"/>
                    <a:pt x="757" y="1651"/>
                    <a:pt x="759" y="1651"/>
                  </a:cubicBezTo>
                  <a:cubicBezTo>
                    <a:pt x="762" y="1651"/>
                    <a:pt x="766" y="1632"/>
                    <a:pt x="772" y="1617"/>
                  </a:cubicBezTo>
                  <a:cubicBezTo>
                    <a:pt x="778" y="1601"/>
                    <a:pt x="809" y="1599"/>
                    <a:pt x="816" y="1590"/>
                  </a:cubicBezTo>
                  <a:cubicBezTo>
                    <a:pt x="823" y="1581"/>
                    <a:pt x="804" y="1562"/>
                    <a:pt x="800" y="1555"/>
                  </a:cubicBezTo>
                  <a:cubicBezTo>
                    <a:pt x="796" y="1548"/>
                    <a:pt x="805" y="1533"/>
                    <a:pt x="808" y="1528"/>
                  </a:cubicBezTo>
                  <a:cubicBezTo>
                    <a:pt x="803" y="1532"/>
                    <a:pt x="782" y="1546"/>
                    <a:pt x="782" y="1546"/>
                  </a:cubicBezTo>
                  <a:cubicBezTo>
                    <a:pt x="782" y="1546"/>
                    <a:pt x="775" y="1544"/>
                    <a:pt x="766" y="1535"/>
                  </a:cubicBezTo>
                  <a:cubicBezTo>
                    <a:pt x="757" y="1527"/>
                    <a:pt x="782" y="1513"/>
                    <a:pt x="783" y="1512"/>
                  </a:cubicBezTo>
                  <a:cubicBezTo>
                    <a:pt x="784" y="1510"/>
                    <a:pt x="782" y="1480"/>
                    <a:pt x="782" y="1480"/>
                  </a:cubicBezTo>
                  <a:cubicBezTo>
                    <a:pt x="824" y="1433"/>
                    <a:pt x="824" y="1433"/>
                    <a:pt x="824" y="1433"/>
                  </a:cubicBezTo>
                  <a:cubicBezTo>
                    <a:pt x="824" y="1433"/>
                    <a:pt x="836" y="1448"/>
                    <a:pt x="836" y="1450"/>
                  </a:cubicBezTo>
                  <a:cubicBezTo>
                    <a:pt x="836" y="1452"/>
                    <a:pt x="826" y="1460"/>
                    <a:pt x="826" y="1469"/>
                  </a:cubicBezTo>
                  <a:cubicBezTo>
                    <a:pt x="826" y="1478"/>
                    <a:pt x="861" y="1479"/>
                    <a:pt x="861" y="1479"/>
                  </a:cubicBezTo>
                  <a:cubicBezTo>
                    <a:pt x="861" y="1479"/>
                    <a:pt x="899" y="1506"/>
                    <a:pt x="901" y="1506"/>
                  </a:cubicBezTo>
                  <a:cubicBezTo>
                    <a:pt x="903" y="1507"/>
                    <a:pt x="914" y="1492"/>
                    <a:pt x="919" y="1490"/>
                  </a:cubicBezTo>
                  <a:cubicBezTo>
                    <a:pt x="925" y="1488"/>
                    <a:pt x="977" y="1503"/>
                    <a:pt x="979" y="1503"/>
                  </a:cubicBezTo>
                  <a:cubicBezTo>
                    <a:pt x="982" y="1503"/>
                    <a:pt x="1066" y="1443"/>
                    <a:pt x="1066" y="1443"/>
                  </a:cubicBezTo>
                  <a:cubicBezTo>
                    <a:pt x="1066" y="1443"/>
                    <a:pt x="1073" y="1415"/>
                    <a:pt x="1075" y="1415"/>
                  </a:cubicBezTo>
                  <a:cubicBezTo>
                    <a:pt x="1076" y="1415"/>
                    <a:pt x="1102" y="1396"/>
                    <a:pt x="1102" y="1396"/>
                  </a:cubicBezTo>
                  <a:cubicBezTo>
                    <a:pt x="1121" y="1394"/>
                    <a:pt x="1121" y="1394"/>
                    <a:pt x="1121" y="1394"/>
                  </a:cubicBezTo>
                  <a:cubicBezTo>
                    <a:pt x="1144" y="1316"/>
                    <a:pt x="1144" y="1316"/>
                    <a:pt x="1144" y="1316"/>
                  </a:cubicBezTo>
                  <a:cubicBezTo>
                    <a:pt x="1144" y="1316"/>
                    <a:pt x="1157" y="1309"/>
                    <a:pt x="1162" y="1303"/>
                  </a:cubicBezTo>
                  <a:cubicBezTo>
                    <a:pt x="1168" y="1297"/>
                    <a:pt x="1167" y="1281"/>
                    <a:pt x="1177" y="1283"/>
                  </a:cubicBezTo>
                  <a:cubicBezTo>
                    <a:pt x="1187" y="1285"/>
                    <a:pt x="1246" y="1297"/>
                    <a:pt x="1261" y="1296"/>
                  </a:cubicBezTo>
                  <a:cubicBezTo>
                    <a:pt x="1276" y="1295"/>
                    <a:pt x="1268" y="1308"/>
                    <a:pt x="1270" y="1310"/>
                  </a:cubicBezTo>
                  <a:cubicBezTo>
                    <a:pt x="1272" y="1313"/>
                    <a:pt x="1306" y="1319"/>
                    <a:pt x="1306" y="1319"/>
                  </a:cubicBezTo>
                  <a:cubicBezTo>
                    <a:pt x="1335" y="1308"/>
                    <a:pt x="1335" y="1308"/>
                    <a:pt x="1335" y="1308"/>
                  </a:cubicBezTo>
                  <a:cubicBezTo>
                    <a:pt x="1335" y="1308"/>
                    <a:pt x="1357" y="1327"/>
                    <a:pt x="1361" y="1335"/>
                  </a:cubicBezTo>
                  <a:cubicBezTo>
                    <a:pt x="1366" y="1342"/>
                    <a:pt x="1378" y="1332"/>
                    <a:pt x="1384" y="1331"/>
                  </a:cubicBezTo>
                  <a:cubicBezTo>
                    <a:pt x="1389" y="1329"/>
                    <a:pt x="1397" y="1339"/>
                    <a:pt x="1402" y="1343"/>
                  </a:cubicBezTo>
                  <a:cubicBezTo>
                    <a:pt x="1406" y="1346"/>
                    <a:pt x="1415" y="1327"/>
                    <a:pt x="1425" y="1321"/>
                  </a:cubicBezTo>
                  <a:cubicBezTo>
                    <a:pt x="1435" y="1315"/>
                    <a:pt x="1443" y="1306"/>
                    <a:pt x="1462" y="1301"/>
                  </a:cubicBezTo>
                  <a:cubicBezTo>
                    <a:pt x="1481" y="1296"/>
                    <a:pt x="1483" y="1319"/>
                    <a:pt x="1488" y="1323"/>
                  </a:cubicBezTo>
                  <a:cubicBezTo>
                    <a:pt x="1494" y="1327"/>
                    <a:pt x="1509" y="1323"/>
                    <a:pt x="1509" y="1323"/>
                  </a:cubicBezTo>
                  <a:cubicBezTo>
                    <a:pt x="1569" y="1289"/>
                    <a:pt x="1569" y="1289"/>
                    <a:pt x="1569" y="1289"/>
                  </a:cubicBezTo>
                  <a:cubicBezTo>
                    <a:pt x="1567" y="1275"/>
                    <a:pt x="1567" y="1275"/>
                    <a:pt x="1567" y="1275"/>
                  </a:cubicBezTo>
                  <a:cubicBezTo>
                    <a:pt x="1588" y="1264"/>
                    <a:pt x="1588" y="1264"/>
                    <a:pt x="1588" y="1264"/>
                  </a:cubicBezTo>
                  <a:cubicBezTo>
                    <a:pt x="1527" y="1225"/>
                    <a:pt x="1527" y="1225"/>
                    <a:pt x="1527" y="1225"/>
                  </a:cubicBezTo>
                  <a:cubicBezTo>
                    <a:pt x="1523" y="1188"/>
                    <a:pt x="1523" y="1188"/>
                    <a:pt x="1523" y="1188"/>
                  </a:cubicBezTo>
                  <a:cubicBezTo>
                    <a:pt x="1581" y="1115"/>
                    <a:pt x="1581" y="1115"/>
                    <a:pt x="1581" y="1115"/>
                  </a:cubicBezTo>
                  <a:cubicBezTo>
                    <a:pt x="1571" y="1105"/>
                    <a:pt x="1571" y="1105"/>
                    <a:pt x="1571" y="1105"/>
                  </a:cubicBezTo>
                  <a:cubicBezTo>
                    <a:pt x="1571" y="1105"/>
                    <a:pt x="1573" y="1095"/>
                    <a:pt x="1581" y="1090"/>
                  </a:cubicBezTo>
                  <a:cubicBezTo>
                    <a:pt x="1589" y="1084"/>
                    <a:pt x="1562" y="1064"/>
                    <a:pt x="1562" y="1064"/>
                  </a:cubicBezTo>
                  <a:cubicBezTo>
                    <a:pt x="1562" y="1064"/>
                    <a:pt x="1597" y="1019"/>
                    <a:pt x="1605" y="1012"/>
                  </a:cubicBezTo>
                  <a:cubicBezTo>
                    <a:pt x="1612" y="1005"/>
                    <a:pt x="1596" y="941"/>
                    <a:pt x="1596" y="941"/>
                  </a:cubicBezTo>
                  <a:close/>
                </a:path>
              </a:pathLst>
            </a:custGeom>
            <a:noFill/>
            <a:ln w="3175" cap="flat" cmpd="sng">
              <a:solidFill>
                <a:srgbClr val="585858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471" name="Freeform 222"/>
            <p:cNvSpPr>
              <a:spLocks noChangeAspect="1"/>
            </p:cNvSpPr>
            <p:nvPr/>
          </p:nvSpPr>
          <p:spPr bwMode="auto">
            <a:xfrm>
              <a:off x="421" y="2683"/>
              <a:ext cx="624" cy="747"/>
            </a:xfrm>
            <a:custGeom>
              <a:avLst/>
              <a:gdLst>
                <a:gd name="T0" fmla="*/ 842 w 860"/>
                <a:gd name="T1" fmla="*/ 221 h 1026"/>
                <a:gd name="T2" fmla="*/ 820 w 860"/>
                <a:gd name="T3" fmla="*/ 223 h 1026"/>
                <a:gd name="T4" fmla="*/ 804 w 860"/>
                <a:gd name="T5" fmla="*/ 180 h 1026"/>
                <a:gd name="T6" fmla="*/ 766 w 860"/>
                <a:gd name="T7" fmla="*/ 176 h 1026"/>
                <a:gd name="T8" fmla="*/ 779 w 860"/>
                <a:gd name="T9" fmla="*/ 147 h 1026"/>
                <a:gd name="T10" fmla="*/ 761 w 860"/>
                <a:gd name="T11" fmla="*/ 100 h 1026"/>
                <a:gd name="T12" fmla="*/ 728 w 860"/>
                <a:gd name="T13" fmla="*/ 77 h 1026"/>
                <a:gd name="T14" fmla="*/ 686 w 860"/>
                <a:gd name="T15" fmla="*/ 37 h 1026"/>
                <a:gd name="T16" fmla="*/ 639 w 860"/>
                <a:gd name="T17" fmla="*/ 3 h 1026"/>
                <a:gd name="T18" fmla="*/ 604 w 860"/>
                <a:gd name="T19" fmla="*/ 7 h 1026"/>
                <a:gd name="T20" fmla="*/ 586 w 860"/>
                <a:gd name="T21" fmla="*/ 34 h 1026"/>
                <a:gd name="T22" fmla="*/ 522 w 860"/>
                <a:gd name="T23" fmla="*/ 62 h 1026"/>
                <a:gd name="T24" fmla="*/ 454 w 860"/>
                <a:gd name="T25" fmla="*/ 46 h 1026"/>
                <a:gd name="T26" fmla="*/ 444 w 860"/>
                <a:gd name="T27" fmla="*/ 71 h 1026"/>
                <a:gd name="T28" fmla="*/ 402 w 860"/>
                <a:gd name="T29" fmla="*/ 102 h 1026"/>
                <a:gd name="T30" fmla="*/ 367 w 860"/>
                <a:gd name="T31" fmla="*/ 147 h 1026"/>
                <a:gd name="T32" fmla="*/ 290 w 860"/>
                <a:gd name="T33" fmla="*/ 131 h 1026"/>
                <a:gd name="T34" fmla="*/ 243 w 860"/>
                <a:gd name="T35" fmla="*/ 126 h 1026"/>
                <a:gd name="T36" fmla="*/ 258 w 860"/>
                <a:gd name="T37" fmla="*/ 174 h 1026"/>
                <a:gd name="T38" fmla="*/ 217 w 860"/>
                <a:gd name="T39" fmla="*/ 195 h 1026"/>
                <a:gd name="T40" fmla="*/ 192 w 860"/>
                <a:gd name="T41" fmla="*/ 197 h 1026"/>
                <a:gd name="T42" fmla="*/ 156 w 860"/>
                <a:gd name="T43" fmla="*/ 164 h 1026"/>
                <a:gd name="T44" fmla="*/ 156 w 860"/>
                <a:gd name="T45" fmla="*/ 198 h 1026"/>
                <a:gd name="T46" fmla="*/ 122 w 860"/>
                <a:gd name="T47" fmla="*/ 218 h 1026"/>
                <a:gd name="T48" fmla="*/ 80 w 860"/>
                <a:gd name="T49" fmla="*/ 226 h 1026"/>
                <a:gd name="T50" fmla="*/ 40 w 860"/>
                <a:gd name="T51" fmla="*/ 236 h 1026"/>
                <a:gd name="T52" fmla="*/ 0 w 860"/>
                <a:gd name="T53" fmla="*/ 215 h 1026"/>
                <a:gd name="T54" fmla="*/ 13 w 860"/>
                <a:gd name="T55" fmla="*/ 282 h 1026"/>
                <a:gd name="T56" fmla="*/ 26 w 860"/>
                <a:gd name="T57" fmla="*/ 341 h 1026"/>
                <a:gd name="T58" fmla="*/ 53 w 860"/>
                <a:gd name="T59" fmla="*/ 506 h 1026"/>
                <a:gd name="T60" fmla="*/ 88 w 860"/>
                <a:gd name="T61" fmla="*/ 517 h 1026"/>
                <a:gd name="T62" fmla="*/ 108 w 860"/>
                <a:gd name="T63" fmla="*/ 555 h 1026"/>
                <a:gd name="T64" fmla="*/ 168 w 860"/>
                <a:gd name="T65" fmla="*/ 626 h 1026"/>
                <a:gd name="T66" fmla="*/ 203 w 860"/>
                <a:gd name="T67" fmla="*/ 684 h 1026"/>
                <a:gd name="T68" fmla="*/ 219 w 860"/>
                <a:gd name="T69" fmla="*/ 744 h 1026"/>
                <a:gd name="T70" fmla="*/ 279 w 860"/>
                <a:gd name="T71" fmla="*/ 778 h 1026"/>
                <a:gd name="T72" fmla="*/ 302 w 860"/>
                <a:gd name="T73" fmla="*/ 809 h 1026"/>
                <a:gd name="T74" fmla="*/ 302 w 860"/>
                <a:gd name="T75" fmla="*/ 853 h 1026"/>
                <a:gd name="T76" fmla="*/ 350 w 860"/>
                <a:gd name="T77" fmla="*/ 999 h 1026"/>
                <a:gd name="T78" fmla="*/ 396 w 860"/>
                <a:gd name="T79" fmla="*/ 1013 h 1026"/>
                <a:gd name="T80" fmla="*/ 455 w 860"/>
                <a:gd name="T81" fmla="*/ 1003 h 1026"/>
                <a:gd name="T82" fmla="*/ 475 w 860"/>
                <a:gd name="T83" fmla="*/ 839 h 1026"/>
                <a:gd name="T84" fmla="*/ 508 w 860"/>
                <a:gd name="T85" fmla="*/ 749 h 1026"/>
                <a:gd name="T86" fmla="*/ 557 w 860"/>
                <a:gd name="T87" fmla="*/ 690 h 1026"/>
                <a:gd name="T88" fmla="*/ 649 w 860"/>
                <a:gd name="T89" fmla="*/ 668 h 1026"/>
                <a:gd name="T90" fmla="*/ 677 w 860"/>
                <a:gd name="T91" fmla="*/ 673 h 1026"/>
                <a:gd name="T92" fmla="*/ 734 w 860"/>
                <a:gd name="T93" fmla="*/ 650 h 1026"/>
                <a:gd name="T94" fmla="*/ 750 w 860"/>
                <a:gd name="T95" fmla="*/ 616 h 1026"/>
                <a:gd name="T96" fmla="*/ 711 w 860"/>
                <a:gd name="T97" fmla="*/ 479 h 1026"/>
                <a:gd name="T98" fmla="*/ 707 w 860"/>
                <a:gd name="T99" fmla="*/ 394 h 1026"/>
                <a:gd name="T100" fmla="*/ 775 w 860"/>
                <a:gd name="T101" fmla="*/ 358 h 1026"/>
                <a:gd name="T102" fmla="*/ 807 w 860"/>
                <a:gd name="T103" fmla="*/ 292 h 1026"/>
                <a:gd name="T104" fmla="*/ 860 w 860"/>
                <a:gd name="T105" fmla="*/ 281 h 1026"/>
                <a:gd name="T106" fmla="*/ 843 w 860"/>
                <a:gd name="T107" fmla="*/ 245 h 102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60"/>
                <a:gd name="T163" fmla="*/ 0 h 1026"/>
                <a:gd name="T164" fmla="*/ 860 w 860"/>
                <a:gd name="T165" fmla="*/ 1026 h 102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60" h="1026">
                  <a:moveTo>
                    <a:pt x="843" y="245"/>
                  </a:moveTo>
                  <a:cubicBezTo>
                    <a:pt x="843" y="245"/>
                    <a:pt x="843" y="229"/>
                    <a:pt x="842" y="221"/>
                  </a:cubicBezTo>
                  <a:cubicBezTo>
                    <a:pt x="841" y="214"/>
                    <a:pt x="830" y="211"/>
                    <a:pt x="830" y="211"/>
                  </a:cubicBezTo>
                  <a:cubicBezTo>
                    <a:pt x="820" y="223"/>
                    <a:pt x="820" y="223"/>
                    <a:pt x="820" y="223"/>
                  </a:cubicBezTo>
                  <a:cubicBezTo>
                    <a:pt x="803" y="208"/>
                    <a:pt x="803" y="208"/>
                    <a:pt x="803" y="208"/>
                  </a:cubicBezTo>
                  <a:cubicBezTo>
                    <a:pt x="803" y="208"/>
                    <a:pt x="811" y="196"/>
                    <a:pt x="804" y="180"/>
                  </a:cubicBezTo>
                  <a:cubicBezTo>
                    <a:pt x="796" y="165"/>
                    <a:pt x="785" y="193"/>
                    <a:pt x="785" y="193"/>
                  </a:cubicBezTo>
                  <a:cubicBezTo>
                    <a:pt x="766" y="176"/>
                    <a:pt x="766" y="176"/>
                    <a:pt x="766" y="176"/>
                  </a:cubicBezTo>
                  <a:cubicBezTo>
                    <a:pt x="766" y="176"/>
                    <a:pt x="780" y="161"/>
                    <a:pt x="788" y="159"/>
                  </a:cubicBezTo>
                  <a:cubicBezTo>
                    <a:pt x="795" y="156"/>
                    <a:pt x="779" y="147"/>
                    <a:pt x="779" y="147"/>
                  </a:cubicBezTo>
                  <a:cubicBezTo>
                    <a:pt x="779" y="147"/>
                    <a:pt x="785" y="141"/>
                    <a:pt x="785" y="138"/>
                  </a:cubicBezTo>
                  <a:cubicBezTo>
                    <a:pt x="785" y="134"/>
                    <a:pt x="761" y="100"/>
                    <a:pt x="761" y="100"/>
                  </a:cubicBezTo>
                  <a:cubicBezTo>
                    <a:pt x="761" y="100"/>
                    <a:pt x="752" y="94"/>
                    <a:pt x="743" y="93"/>
                  </a:cubicBezTo>
                  <a:cubicBezTo>
                    <a:pt x="734" y="92"/>
                    <a:pt x="728" y="77"/>
                    <a:pt x="728" y="77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686" y="37"/>
                    <a:pt x="686" y="37"/>
                    <a:pt x="686" y="37"/>
                  </a:cubicBezTo>
                  <a:cubicBezTo>
                    <a:pt x="649" y="18"/>
                    <a:pt x="649" y="18"/>
                    <a:pt x="649" y="18"/>
                  </a:cubicBezTo>
                  <a:cubicBezTo>
                    <a:pt x="649" y="18"/>
                    <a:pt x="644" y="5"/>
                    <a:pt x="639" y="3"/>
                  </a:cubicBezTo>
                  <a:cubicBezTo>
                    <a:pt x="634" y="0"/>
                    <a:pt x="626" y="15"/>
                    <a:pt x="626" y="15"/>
                  </a:cubicBezTo>
                  <a:cubicBezTo>
                    <a:pt x="604" y="7"/>
                    <a:pt x="604" y="7"/>
                    <a:pt x="604" y="7"/>
                  </a:cubicBezTo>
                  <a:cubicBezTo>
                    <a:pt x="586" y="14"/>
                    <a:pt x="586" y="14"/>
                    <a:pt x="586" y="14"/>
                  </a:cubicBezTo>
                  <a:cubicBezTo>
                    <a:pt x="586" y="34"/>
                    <a:pt x="586" y="34"/>
                    <a:pt x="586" y="34"/>
                  </a:cubicBezTo>
                  <a:cubicBezTo>
                    <a:pt x="586" y="34"/>
                    <a:pt x="568" y="51"/>
                    <a:pt x="555" y="61"/>
                  </a:cubicBezTo>
                  <a:cubicBezTo>
                    <a:pt x="541" y="70"/>
                    <a:pt x="525" y="62"/>
                    <a:pt x="522" y="62"/>
                  </a:cubicBezTo>
                  <a:cubicBezTo>
                    <a:pt x="519" y="62"/>
                    <a:pt x="518" y="68"/>
                    <a:pt x="509" y="77"/>
                  </a:cubicBezTo>
                  <a:cubicBezTo>
                    <a:pt x="499" y="85"/>
                    <a:pt x="454" y="46"/>
                    <a:pt x="454" y="46"/>
                  </a:cubicBezTo>
                  <a:cubicBezTo>
                    <a:pt x="442" y="51"/>
                    <a:pt x="442" y="51"/>
                    <a:pt x="442" y="51"/>
                  </a:cubicBezTo>
                  <a:cubicBezTo>
                    <a:pt x="444" y="56"/>
                    <a:pt x="445" y="60"/>
                    <a:pt x="444" y="71"/>
                  </a:cubicBezTo>
                  <a:cubicBezTo>
                    <a:pt x="442" y="92"/>
                    <a:pt x="422" y="85"/>
                    <a:pt x="405" y="85"/>
                  </a:cubicBezTo>
                  <a:cubicBezTo>
                    <a:pt x="388" y="85"/>
                    <a:pt x="411" y="107"/>
                    <a:pt x="402" y="102"/>
                  </a:cubicBezTo>
                  <a:cubicBezTo>
                    <a:pt x="393" y="97"/>
                    <a:pt x="374" y="111"/>
                    <a:pt x="374" y="111"/>
                  </a:cubicBezTo>
                  <a:cubicBezTo>
                    <a:pt x="367" y="147"/>
                    <a:pt x="367" y="147"/>
                    <a:pt x="367" y="147"/>
                  </a:cubicBezTo>
                  <a:cubicBezTo>
                    <a:pt x="330" y="164"/>
                    <a:pt x="330" y="164"/>
                    <a:pt x="330" y="164"/>
                  </a:cubicBezTo>
                  <a:cubicBezTo>
                    <a:pt x="290" y="131"/>
                    <a:pt x="290" y="131"/>
                    <a:pt x="290" y="131"/>
                  </a:cubicBezTo>
                  <a:cubicBezTo>
                    <a:pt x="265" y="131"/>
                    <a:pt x="265" y="131"/>
                    <a:pt x="265" y="131"/>
                  </a:cubicBezTo>
                  <a:cubicBezTo>
                    <a:pt x="243" y="126"/>
                    <a:pt x="243" y="126"/>
                    <a:pt x="243" y="126"/>
                  </a:cubicBezTo>
                  <a:cubicBezTo>
                    <a:pt x="212" y="150"/>
                    <a:pt x="212" y="150"/>
                    <a:pt x="212" y="150"/>
                  </a:cubicBezTo>
                  <a:cubicBezTo>
                    <a:pt x="258" y="174"/>
                    <a:pt x="258" y="174"/>
                    <a:pt x="258" y="174"/>
                  </a:cubicBezTo>
                  <a:cubicBezTo>
                    <a:pt x="258" y="174"/>
                    <a:pt x="268" y="189"/>
                    <a:pt x="262" y="199"/>
                  </a:cubicBezTo>
                  <a:cubicBezTo>
                    <a:pt x="256" y="209"/>
                    <a:pt x="219" y="195"/>
                    <a:pt x="217" y="195"/>
                  </a:cubicBezTo>
                  <a:cubicBezTo>
                    <a:pt x="215" y="195"/>
                    <a:pt x="202" y="181"/>
                    <a:pt x="202" y="181"/>
                  </a:cubicBezTo>
                  <a:cubicBezTo>
                    <a:pt x="192" y="197"/>
                    <a:pt x="192" y="197"/>
                    <a:pt x="192" y="197"/>
                  </a:cubicBezTo>
                  <a:cubicBezTo>
                    <a:pt x="184" y="182"/>
                    <a:pt x="184" y="182"/>
                    <a:pt x="184" y="182"/>
                  </a:cubicBezTo>
                  <a:cubicBezTo>
                    <a:pt x="156" y="164"/>
                    <a:pt x="156" y="164"/>
                    <a:pt x="156" y="164"/>
                  </a:cubicBezTo>
                  <a:cubicBezTo>
                    <a:pt x="145" y="191"/>
                    <a:pt x="145" y="191"/>
                    <a:pt x="145" y="191"/>
                  </a:cubicBezTo>
                  <a:cubicBezTo>
                    <a:pt x="156" y="198"/>
                    <a:pt x="156" y="198"/>
                    <a:pt x="156" y="198"/>
                  </a:cubicBezTo>
                  <a:cubicBezTo>
                    <a:pt x="156" y="240"/>
                    <a:pt x="156" y="240"/>
                    <a:pt x="156" y="240"/>
                  </a:cubicBezTo>
                  <a:cubicBezTo>
                    <a:pt x="122" y="218"/>
                    <a:pt x="122" y="218"/>
                    <a:pt x="122" y="218"/>
                  </a:cubicBezTo>
                  <a:cubicBezTo>
                    <a:pt x="101" y="232"/>
                    <a:pt x="101" y="232"/>
                    <a:pt x="101" y="232"/>
                  </a:cubicBezTo>
                  <a:cubicBezTo>
                    <a:pt x="80" y="226"/>
                    <a:pt x="80" y="226"/>
                    <a:pt x="80" y="226"/>
                  </a:cubicBezTo>
                  <a:cubicBezTo>
                    <a:pt x="80" y="226"/>
                    <a:pt x="73" y="255"/>
                    <a:pt x="68" y="257"/>
                  </a:cubicBezTo>
                  <a:cubicBezTo>
                    <a:pt x="63" y="260"/>
                    <a:pt x="43" y="240"/>
                    <a:pt x="40" y="236"/>
                  </a:cubicBezTo>
                  <a:cubicBezTo>
                    <a:pt x="38" y="233"/>
                    <a:pt x="26" y="208"/>
                    <a:pt x="26" y="208"/>
                  </a:cubicBezTo>
                  <a:cubicBezTo>
                    <a:pt x="0" y="215"/>
                    <a:pt x="0" y="215"/>
                    <a:pt x="0" y="215"/>
                  </a:cubicBezTo>
                  <a:cubicBezTo>
                    <a:pt x="0" y="215"/>
                    <a:pt x="10" y="243"/>
                    <a:pt x="17" y="255"/>
                  </a:cubicBezTo>
                  <a:cubicBezTo>
                    <a:pt x="23" y="266"/>
                    <a:pt x="15" y="275"/>
                    <a:pt x="13" y="282"/>
                  </a:cubicBezTo>
                  <a:cubicBezTo>
                    <a:pt x="11" y="288"/>
                    <a:pt x="25" y="311"/>
                    <a:pt x="25" y="311"/>
                  </a:cubicBezTo>
                  <a:cubicBezTo>
                    <a:pt x="25" y="311"/>
                    <a:pt x="26" y="338"/>
                    <a:pt x="26" y="341"/>
                  </a:cubicBezTo>
                  <a:cubicBezTo>
                    <a:pt x="26" y="344"/>
                    <a:pt x="44" y="366"/>
                    <a:pt x="50" y="381"/>
                  </a:cubicBezTo>
                  <a:cubicBezTo>
                    <a:pt x="56" y="397"/>
                    <a:pt x="53" y="506"/>
                    <a:pt x="53" y="506"/>
                  </a:cubicBezTo>
                  <a:cubicBezTo>
                    <a:pt x="53" y="506"/>
                    <a:pt x="64" y="497"/>
                    <a:pt x="78" y="496"/>
                  </a:cubicBezTo>
                  <a:cubicBezTo>
                    <a:pt x="92" y="495"/>
                    <a:pt x="88" y="517"/>
                    <a:pt x="88" y="517"/>
                  </a:cubicBezTo>
                  <a:cubicBezTo>
                    <a:pt x="88" y="517"/>
                    <a:pt x="102" y="524"/>
                    <a:pt x="104" y="526"/>
                  </a:cubicBezTo>
                  <a:cubicBezTo>
                    <a:pt x="106" y="528"/>
                    <a:pt x="108" y="555"/>
                    <a:pt x="108" y="555"/>
                  </a:cubicBezTo>
                  <a:cubicBezTo>
                    <a:pt x="108" y="555"/>
                    <a:pt x="119" y="566"/>
                    <a:pt x="127" y="580"/>
                  </a:cubicBezTo>
                  <a:cubicBezTo>
                    <a:pt x="134" y="593"/>
                    <a:pt x="168" y="626"/>
                    <a:pt x="168" y="626"/>
                  </a:cubicBezTo>
                  <a:cubicBezTo>
                    <a:pt x="195" y="648"/>
                    <a:pt x="195" y="648"/>
                    <a:pt x="195" y="648"/>
                  </a:cubicBezTo>
                  <a:cubicBezTo>
                    <a:pt x="195" y="648"/>
                    <a:pt x="203" y="680"/>
                    <a:pt x="203" y="684"/>
                  </a:cubicBezTo>
                  <a:cubicBezTo>
                    <a:pt x="203" y="688"/>
                    <a:pt x="212" y="687"/>
                    <a:pt x="220" y="701"/>
                  </a:cubicBezTo>
                  <a:cubicBezTo>
                    <a:pt x="228" y="715"/>
                    <a:pt x="219" y="744"/>
                    <a:pt x="219" y="744"/>
                  </a:cubicBezTo>
                  <a:cubicBezTo>
                    <a:pt x="219" y="744"/>
                    <a:pt x="265" y="756"/>
                    <a:pt x="268" y="756"/>
                  </a:cubicBezTo>
                  <a:cubicBezTo>
                    <a:pt x="270" y="756"/>
                    <a:pt x="279" y="778"/>
                    <a:pt x="279" y="778"/>
                  </a:cubicBezTo>
                  <a:cubicBezTo>
                    <a:pt x="299" y="790"/>
                    <a:pt x="299" y="790"/>
                    <a:pt x="299" y="790"/>
                  </a:cubicBezTo>
                  <a:cubicBezTo>
                    <a:pt x="302" y="809"/>
                    <a:pt x="302" y="809"/>
                    <a:pt x="302" y="809"/>
                  </a:cubicBezTo>
                  <a:cubicBezTo>
                    <a:pt x="324" y="834"/>
                    <a:pt x="324" y="834"/>
                    <a:pt x="324" y="834"/>
                  </a:cubicBezTo>
                  <a:cubicBezTo>
                    <a:pt x="324" y="834"/>
                    <a:pt x="302" y="848"/>
                    <a:pt x="302" y="853"/>
                  </a:cubicBezTo>
                  <a:cubicBezTo>
                    <a:pt x="302" y="858"/>
                    <a:pt x="322" y="906"/>
                    <a:pt x="345" y="939"/>
                  </a:cubicBezTo>
                  <a:cubicBezTo>
                    <a:pt x="368" y="971"/>
                    <a:pt x="350" y="999"/>
                    <a:pt x="350" y="999"/>
                  </a:cubicBezTo>
                  <a:cubicBezTo>
                    <a:pt x="374" y="1026"/>
                    <a:pt x="374" y="1026"/>
                    <a:pt x="374" y="1026"/>
                  </a:cubicBezTo>
                  <a:cubicBezTo>
                    <a:pt x="396" y="1013"/>
                    <a:pt x="396" y="1013"/>
                    <a:pt x="396" y="1013"/>
                  </a:cubicBezTo>
                  <a:cubicBezTo>
                    <a:pt x="396" y="1013"/>
                    <a:pt x="423" y="1015"/>
                    <a:pt x="426" y="1015"/>
                  </a:cubicBezTo>
                  <a:cubicBezTo>
                    <a:pt x="429" y="1015"/>
                    <a:pt x="455" y="1003"/>
                    <a:pt x="455" y="1003"/>
                  </a:cubicBezTo>
                  <a:cubicBezTo>
                    <a:pt x="453" y="855"/>
                    <a:pt x="453" y="855"/>
                    <a:pt x="453" y="855"/>
                  </a:cubicBezTo>
                  <a:cubicBezTo>
                    <a:pt x="453" y="855"/>
                    <a:pt x="473" y="839"/>
                    <a:pt x="475" y="839"/>
                  </a:cubicBezTo>
                  <a:cubicBezTo>
                    <a:pt x="478" y="839"/>
                    <a:pt x="485" y="805"/>
                    <a:pt x="493" y="801"/>
                  </a:cubicBezTo>
                  <a:cubicBezTo>
                    <a:pt x="500" y="797"/>
                    <a:pt x="507" y="761"/>
                    <a:pt x="508" y="749"/>
                  </a:cubicBezTo>
                  <a:cubicBezTo>
                    <a:pt x="508" y="738"/>
                    <a:pt x="489" y="724"/>
                    <a:pt x="496" y="705"/>
                  </a:cubicBezTo>
                  <a:cubicBezTo>
                    <a:pt x="502" y="685"/>
                    <a:pt x="542" y="693"/>
                    <a:pt x="557" y="690"/>
                  </a:cubicBezTo>
                  <a:cubicBezTo>
                    <a:pt x="572" y="686"/>
                    <a:pt x="604" y="647"/>
                    <a:pt x="608" y="647"/>
                  </a:cubicBezTo>
                  <a:cubicBezTo>
                    <a:pt x="612" y="647"/>
                    <a:pt x="643" y="665"/>
                    <a:pt x="649" y="668"/>
                  </a:cubicBezTo>
                  <a:cubicBezTo>
                    <a:pt x="654" y="672"/>
                    <a:pt x="670" y="656"/>
                    <a:pt x="670" y="656"/>
                  </a:cubicBezTo>
                  <a:cubicBezTo>
                    <a:pt x="677" y="673"/>
                    <a:pt x="677" y="673"/>
                    <a:pt x="677" y="673"/>
                  </a:cubicBezTo>
                  <a:cubicBezTo>
                    <a:pt x="696" y="659"/>
                    <a:pt x="696" y="659"/>
                    <a:pt x="696" y="659"/>
                  </a:cubicBezTo>
                  <a:cubicBezTo>
                    <a:pt x="734" y="650"/>
                    <a:pt x="734" y="650"/>
                    <a:pt x="734" y="650"/>
                  </a:cubicBezTo>
                  <a:cubicBezTo>
                    <a:pt x="734" y="650"/>
                    <a:pt x="721" y="609"/>
                    <a:pt x="721" y="607"/>
                  </a:cubicBezTo>
                  <a:cubicBezTo>
                    <a:pt x="721" y="605"/>
                    <a:pt x="750" y="616"/>
                    <a:pt x="750" y="616"/>
                  </a:cubicBezTo>
                  <a:cubicBezTo>
                    <a:pt x="759" y="513"/>
                    <a:pt x="759" y="513"/>
                    <a:pt x="759" y="513"/>
                  </a:cubicBezTo>
                  <a:cubicBezTo>
                    <a:pt x="711" y="479"/>
                    <a:pt x="711" y="479"/>
                    <a:pt x="711" y="479"/>
                  </a:cubicBezTo>
                  <a:cubicBezTo>
                    <a:pt x="734" y="433"/>
                    <a:pt x="734" y="433"/>
                    <a:pt x="734" y="433"/>
                  </a:cubicBezTo>
                  <a:cubicBezTo>
                    <a:pt x="734" y="433"/>
                    <a:pt x="709" y="394"/>
                    <a:pt x="707" y="394"/>
                  </a:cubicBezTo>
                  <a:cubicBezTo>
                    <a:pt x="705" y="393"/>
                    <a:pt x="745" y="364"/>
                    <a:pt x="745" y="364"/>
                  </a:cubicBezTo>
                  <a:cubicBezTo>
                    <a:pt x="775" y="358"/>
                    <a:pt x="775" y="358"/>
                    <a:pt x="775" y="358"/>
                  </a:cubicBezTo>
                  <a:cubicBezTo>
                    <a:pt x="777" y="332"/>
                    <a:pt x="777" y="332"/>
                    <a:pt x="777" y="332"/>
                  </a:cubicBezTo>
                  <a:cubicBezTo>
                    <a:pt x="807" y="292"/>
                    <a:pt x="807" y="292"/>
                    <a:pt x="807" y="292"/>
                  </a:cubicBezTo>
                  <a:cubicBezTo>
                    <a:pt x="807" y="292"/>
                    <a:pt x="822" y="299"/>
                    <a:pt x="836" y="301"/>
                  </a:cubicBezTo>
                  <a:cubicBezTo>
                    <a:pt x="846" y="301"/>
                    <a:pt x="854" y="289"/>
                    <a:pt x="860" y="281"/>
                  </a:cubicBezTo>
                  <a:cubicBezTo>
                    <a:pt x="858" y="258"/>
                    <a:pt x="858" y="258"/>
                    <a:pt x="858" y="258"/>
                  </a:cubicBezTo>
                  <a:lnTo>
                    <a:pt x="843" y="245"/>
                  </a:lnTo>
                  <a:close/>
                </a:path>
              </a:pathLst>
            </a:custGeom>
            <a:noFill/>
            <a:ln w="3175" cap="flat" cmpd="sng">
              <a:solidFill>
                <a:srgbClr val="585858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472" name="Freeform 223"/>
            <p:cNvSpPr>
              <a:spLocks noChangeAspect="1"/>
            </p:cNvSpPr>
            <p:nvPr/>
          </p:nvSpPr>
          <p:spPr bwMode="auto">
            <a:xfrm>
              <a:off x="919" y="2261"/>
              <a:ext cx="929" cy="904"/>
            </a:xfrm>
            <a:custGeom>
              <a:avLst/>
              <a:gdLst>
                <a:gd name="T0" fmla="*/ 1113 w 1278"/>
                <a:gd name="T1" fmla="*/ 197 h 1241"/>
                <a:gd name="T2" fmla="*/ 1057 w 1278"/>
                <a:gd name="T3" fmla="*/ 207 h 1241"/>
                <a:gd name="T4" fmla="*/ 987 w 1278"/>
                <a:gd name="T5" fmla="*/ 143 h 1241"/>
                <a:gd name="T6" fmla="*/ 952 w 1278"/>
                <a:gd name="T7" fmla="*/ 150 h 1241"/>
                <a:gd name="T8" fmla="*/ 924 w 1278"/>
                <a:gd name="T9" fmla="*/ 191 h 1241"/>
                <a:gd name="T10" fmla="*/ 857 w 1278"/>
                <a:gd name="T11" fmla="*/ 182 h 1241"/>
                <a:gd name="T12" fmla="*/ 761 w 1278"/>
                <a:gd name="T13" fmla="*/ 216 h 1241"/>
                <a:gd name="T14" fmla="*/ 747 w 1278"/>
                <a:gd name="T15" fmla="*/ 174 h 1241"/>
                <a:gd name="T16" fmla="*/ 759 w 1278"/>
                <a:gd name="T17" fmla="*/ 104 h 1241"/>
                <a:gd name="T18" fmla="*/ 782 w 1278"/>
                <a:gd name="T19" fmla="*/ 40 h 1241"/>
                <a:gd name="T20" fmla="*/ 705 w 1278"/>
                <a:gd name="T21" fmla="*/ 41 h 1241"/>
                <a:gd name="T22" fmla="*/ 682 w 1278"/>
                <a:gd name="T23" fmla="*/ 89 h 1241"/>
                <a:gd name="T24" fmla="*/ 663 w 1278"/>
                <a:gd name="T25" fmla="*/ 177 h 1241"/>
                <a:gd name="T26" fmla="*/ 522 w 1278"/>
                <a:gd name="T27" fmla="*/ 199 h 1241"/>
                <a:gd name="T28" fmla="*/ 452 w 1278"/>
                <a:gd name="T29" fmla="*/ 188 h 1241"/>
                <a:gd name="T30" fmla="*/ 342 w 1278"/>
                <a:gd name="T31" fmla="*/ 196 h 1241"/>
                <a:gd name="T32" fmla="*/ 241 w 1278"/>
                <a:gd name="T33" fmla="*/ 256 h 1241"/>
                <a:gd name="T34" fmla="*/ 171 w 1278"/>
                <a:gd name="T35" fmla="*/ 370 h 1241"/>
                <a:gd name="T36" fmla="*/ 107 w 1278"/>
                <a:gd name="T37" fmla="*/ 474 h 1241"/>
                <a:gd name="T38" fmla="*/ 11 w 1278"/>
                <a:gd name="T39" fmla="*/ 580 h 1241"/>
                <a:gd name="T40" fmla="*/ 2 w 1278"/>
                <a:gd name="T41" fmla="*/ 615 h 1241"/>
                <a:gd name="T42" fmla="*/ 59 w 1278"/>
                <a:gd name="T43" fmla="*/ 671 h 1241"/>
                <a:gd name="T44" fmla="*/ 95 w 1278"/>
                <a:gd name="T45" fmla="*/ 725 h 1241"/>
                <a:gd name="T46" fmla="*/ 101 w 1278"/>
                <a:gd name="T47" fmla="*/ 771 h 1241"/>
                <a:gd name="T48" fmla="*/ 136 w 1278"/>
                <a:gd name="T49" fmla="*/ 801 h 1241"/>
                <a:gd name="T50" fmla="*/ 159 w 1278"/>
                <a:gd name="T51" fmla="*/ 823 h 1241"/>
                <a:gd name="T52" fmla="*/ 183 w 1278"/>
                <a:gd name="T53" fmla="*/ 854 h 1241"/>
                <a:gd name="T54" fmla="*/ 239 w 1278"/>
                <a:gd name="T55" fmla="*/ 881 h 1241"/>
                <a:gd name="T56" fmla="*/ 373 w 1278"/>
                <a:gd name="T57" fmla="*/ 876 h 1241"/>
                <a:gd name="T58" fmla="*/ 456 w 1278"/>
                <a:gd name="T59" fmla="*/ 908 h 1241"/>
                <a:gd name="T60" fmla="*/ 535 w 1278"/>
                <a:gd name="T61" fmla="*/ 950 h 1241"/>
                <a:gd name="T62" fmla="*/ 562 w 1278"/>
                <a:gd name="T63" fmla="*/ 1073 h 1241"/>
                <a:gd name="T64" fmla="*/ 656 w 1278"/>
                <a:gd name="T65" fmla="*/ 1084 h 1241"/>
                <a:gd name="T66" fmla="*/ 734 w 1278"/>
                <a:gd name="T67" fmla="*/ 1126 h 1241"/>
                <a:gd name="T68" fmla="*/ 825 w 1278"/>
                <a:gd name="T69" fmla="*/ 1193 h 1241"/>
                <a:gd name="T70" fmla="*/ 893 w 1278"/>
                <a:gd name="T71" fmla="*/ 1227 h 1241"/>
                <a:gd name="T72" fmla="*/ 951 w 1278"/>
                <a:gd name="T73" fmla="*/ 1168 h 1241"/>
                <a:gd name="T74" fmla="*/ 917 w 1278"/>
                <a:gd name="T75" fmla="*/ 1096 h 1241"/>
                <a:gd name="T76" fmla="*/ 939 w 1278"/>
                <a:gd name="T77" fmla="*/ 1064 h 1241"/>
                <a:gd name="T78" fmla="*/ 897 w 1278"/>
                <a:gd name="T79" fmla="*/ 1030 h 1241"/>
                <a:gd name="T80" fmla="*/ 893 w 1278"/>
                <a:gd name="T81" fmla="*/ 976 h 1241"/>
                <a:gd name="T82" fmla="*/ 977 w 1278"/>
                <a:gd name="T83" fmla="*/ 886 h 1241"/>
                <a:gd name="T84" fmla="*/ 1017 w 1278"/>
                <a:gd name="T85" fmla="*/ 856 h 1241"/>
                <a:gd name="T86" fmla="*/ 977 w 1278"/>
                <a:gd name="T87" fmla="*/ 839 h 1241"/>
                <a:gd name="T88" fmla="*/ 926 w 1278"/>
                <a:gd name="T89" fmla="*/ 828 h 1241"/>
                <a:gd name="T90" fmla="*/ 890 w 1278"/>
                <a:gd name="T91" fmla="*/ 791 h 1241"/>
                <a:gd name="T92" fmla="*/ 980 w 1278"/>
                <a:gd name="T93" fmla="*/ 787 h 1241"/>
                <a:gd name="T94" fmla="*/ 1038 w 1278"/>
                <a:gd name="T95" fmla="*/ 726 h 1241"/>
                <a:gd name="T96" fmla="*/ 1007 w 1278"/>
                <a:gd name="T97" fmla="*/ 692 h 1241"/>
                <a:gd name="T98" fmla="*/ 977 w 1278"/>
                <a:gd name="T99" fmla="*/ 628 h 1241"/>
                <a:gd name="T100" fmla="*/ 1036 w 1278"/>
                <a:gd name="T101" fmla="*/ 570 h 1241"/>
                <a:gd name="T102" fmla="*/ 1091 w 1278"/>
                <a:gd name="T103" fmla="*/ 538 h 1241"/>
                <a:gd name="T104" fmla="*/ 1147 w 1278"/>
                <a:gd name="T105" fmla="*/ 473 h 1241"/>
                <a:gd name="T106" fmla="*/ 1213 w 1278"/>
                <a:gd name="T107" fmla="*/ 345 h 1241"/>
                <a:gd name="T108" fmla="*/ 1278 w 1278"/>
                <a:gd name="T109" fmla="*/ 233 h 124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278"/>
                <a:gd name="T166" fmla="*/ 0 h 1241"/>
                <a:gd name="T167" fmla="*/ 1278 w 1278"/>
                <a:gd name="T168" fmla="*/ 1241 h 124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278" h="1241">
                  <a:moveTo>
                    <a:pt x="1156" y="190"/>
                  </a:moveTo>
                  <a:cubicBezTo>
                    <a:pt x="1130" y="180"/>
                    <a:pt x="1127" y="206"/>
                    <a:pt x="1125" y="206"/>
                  </a:cubicBezTo>
                  <a:cubicBezTo>
                    <a:pt x="1122" y="206"/>
                    <a:pt x="1116" y="199"/>
                    <a:pt x="1113" y="197"/>
                  </a:cubicBezTo>
                  <a:cubicBezTo>
                    <a:pt x="1109" y="195"/>
                    <a:pt x="1103" y="203"/>
                    <a:pt x="1103" y="203"/>
                  </a:cubicBezTo>
                  <a:cubicBezTo>
                    <a:pt x="1103" y="203"/>
                    <a:pt x="1088" y="192"/>
                    <a:pt x="1085" y="191"/>
                  </a:cubicBezTo>
                  <a:cubicBezTo>
                    <a:pt x="1083" y="190"/>
                    <a:pt x="1057" y="207"/>
                    <a:pt x="1057" y="207"/>
                  </a:cubicBezTo>
                  <a:cubicBezTo>
                    <a:pt x="1023" y="176"/>
                    <a:pt x="1023" y="176"/>
                    <a:pt x="1023" y="176"/>
                  </a:cubicBezTo>
                  <a:cubicBezTo>
                    <a:pt x="1023" y="176"/>
                    <a:pt x="1015" y="182"/>
                    <a:pt x="1008" y="178"/>
                  </a:cubicBezTo>
                  <a:cubicBezTo>
                    <a:pt x="1001" y="175"/>
                    <a:pt x="1003" y="150"/>
                    <a:pt x="987" y="143"/>
                  </a:cubicBezTo>
                  <a:cubicBezTo>
                    <a:pt x="971" y="136"/>
                    <a:pt x="981" y="152"/>
                    <a:pt x="981" y="152"/>
                  </a:cubicBezTo>
                  <a:cubicBezTo>
                    <a:pt x="959" y="142"/>
                    <a:pt x="959" y="142"/>
                    <a:pt x="959" y="142"/>
                  </a:cubicBezTo>
                  <a:cubicBezTo>
                    <a:pt x="952" y="150"/>
                    <a:pt x="952" y="150"/>
                    <a:pt x="952" y="150"/>
                  </a:cubicBezTo>
                  <a:cubicBezTo>
                    <a:pt x="935" y="133"/>
                    <a:pt x="935" y="133"/>
                    <a:pt x="935" y="133"/>
                  </a:cubicBezTo>
                  <a:cubicBezTo>
                    <a:pt x="913" y="154"/>
                    <a:pt x="913" y="154"/>
                    <a:pt x="913" y="154"/>
                  </a:cubicBezTo>
                  <a:cubicBezTo>
                    <a:pt x="913" y="154"/>
                    <a:pt x="930" y="186"/>
                    <a:pt x="924" y="191"/>
                  </a:cubicBezTo>
                  <a:cubicBezTo>
                    <a:pt x="918" y="196"/>
                    <a:pt x="907" y="180"/>
                    <a:pt x="907" y="180"/>
                  </a:cubicBezTo>
                  <a:cubicBezTo>
                    <a:pt x="907" y="180"/>
                    <a:pt x="875" y="200"/>
                    <a:pt x="873" y="202"/>
                  </a:cubicBezTo>
                  <a:cubicBezTo>
                    <a:pt x="872" y="204"/>
                    <a:pt x="857" y="182"/>
                    <a:pt x="857" y="182"/>
                  </a:cubicBezTo>
                  <a:cubicBezTo>
                    <a:pt x="857" y="182"/>
                    <a:pt x="848" y="188"/>
                    <a:pt x="838" y="189"/>
                  </a:cubicBezTo>
                  <a:cubicBezTo>
                    <a:pt x="828" y="190"/>
                    <a:pt x="814" y="178"/>
                    <a:pt x="795" y="178"/>
                  </a:cubicBezTo>
                  <a:cubicBezTo>
                    <a:pt x="777" y="178"/>
                    <a:pt x="765" y="216"/>
                    <a:pt x="761" y="216"/>
                  </a:cubicBezTo>
                  <a:cubicBezTo>
                    <a:pt x="758" y="216"/>
                    <a:pt x="754" y="209"/>
                    <a:pt x="754" y="209"/>
                  </a:cubicBezTo>
                  <a:cubicBezTo>
                    <a:pt x="754" y="209"/>
                    <a:pt x="757" y="202"/>
                    <a:pt x="761" y="199"/>
                  </a:cubicBezTo>
                  <a:cubicBezTo>
                    <a:pt x="766" y="196"/>
                    <a:pt x="747" y="174"/>
                    <a:pt x="747" y="174"/>
                  </a:cubicBezTo>
                  <a:cubicBezTo>
                    <a:pt x="754" y="156"/>
                    <a:pt x="754" y="156"/>
                    <a:pt x="754" y="156"/>
                  </a:cubicBezTo>
                  <a:cubicBezTo>
                    <a:pt x="737" y="140"/>
                    <a:pt x="737" y="140"/>
                    <a:pt x="737" y="140"/>
                  </a:cubicBezTo>
                  <a:cubicBezTo>
                    <a:pt x="759" y="104"/>
                    <a:pt x="759" y="104"/>
                    <a:pt x="759" y="104"/>
                  </a:cubicBezTo>
                  <a:cubicBezTo>
                    <a:pt x="759" y="104"/>
                    <a:pt x="779" y="107"/>
                    <a:pt x="779" y="98"/>
                  </a:cubicBezTo>
                  <a:cubicBezTo>
                    <a:pt x="779" y="90"/>
                    <a:pt x="795" y="52"/>
                    <a:pt x="795" y="52"/>
                  </a:cubicBezTo>
                  <a:cubicBezTo>
                    <a:pt x="795" y="52"/>
                    <a:pt x="785" y="42"/>
                    <a:pt x="782" y="40"/>
                  </a:cubicBezTo>
                  <a:cubicBezTo>
                    <a:pt x="779" y="38"/>
                    <a:pt x="789" y="24"/>
                    <a:pt x="789" y="24"/>
                  </a:cubicBezTo>
                  <a:cubicBezTo>
                    <a:pt x="758" y="0"/>
                    <a:pt x="758" y="0"/>
                    <a:pt x="758" y="0"/>
                  </a:cubicBezTo>
                  <a:cubicBezTo>
                    <a:pt x="705" y="41"/>
                    <a:pt x="705" y="41"/>
                    <a:pt x="705" y="41"/>
                  </a:cubicBezTo>
                  <a:cubicBezTo>
                    <a:pt x="705" y="41"/>
                    <a:pt x="685" y="38"/>
                    <a:pt x="677" y="40"/>
                  </a:cubicBezTo>
                  <a:cubicBezTo>
                    <a:pt x="669" y="42"/>
                    <a:pt x="699" y="72"/>
                    <a:pt x="699" y="72"/>
                  </a:cubicBezTo>
                  <a:cubicBezTo>
                    <a:pt x="682" y="89"/>
                    <a:pt x="682" y="89"/>
                    <a:pt x="682" y="89"/>
                  </a:cubicBezTo>
                  <a:cubicBezTo>
                    <a:pt x="687" y="104"/>
                    <a:pt x="687" y="104"/>
                    <a:pt x="687" y="104"/>
                  </a:cubicBezTo>
                  <a:cubicBezTo>
                    <a:pt x="687" y="104"/>
                    <a:pt x="665" y="122"/>
                    <a:pt x="661" y="126"/>
                  </a:cubicBezTo>
                  <a:cubicBezTo>
                    <a:pt x="658" y="130"/>
                    <a:pt x="663" y="175"/>
                    <a:pt x="663" y="177"/>
                  </a:cubicBezTo>
                  <a:cubicBezTo>
                    <a:pt x="663" y="179"/>
                    <a:pt x="595" y="180"/>
                    <a:pt x="595" y="180"/>
                  </a:cubicBezTo>
                  <a:cubicBezTo>
                    <a:pt x="595" y="180"/>
                    <a:pt x="561" y="211"/>
                    <a:pt x="561" y="208"/>
                  </a:cubicBezTo>
                  <a:cubicBezTo>
                    <a:pt x="560" y="206"/>
                    <a:pt x="522" y="199"/>
                    <a:pt x="522" y="199"/>
                  </a:cubicBezTo>
                  <a:cubicBezTo>
                    <a:pt x="522" y="199"/>
                    <a:pt x="499" y="174"/>
                    <a:pt x="492" y="169"/>
                  </a:cubicBezTo>
                  <a:cubicBezTo>
                    <a:pt x="485" y="164"/>
                    <a:pt x="479" y="185"/>
                    <a:pt x="479" y="185"/>
                  </a:cubicBezTo>
                  <a:cubicBezTo>
                    <a:pt x="479" y="185"/>
                    <a:pt x="472" y="188"/>
                    <a:pt x="452" y="188"/>
                  </a:cubicBezTo>
                  <a:cubicBezTo>
                    <a:pt x="432" y="189"/>
                    <a:pt x="407" y="179"/>
                    <a:pt x="403" y="180"/>
                  </a:cubicBezTo>
                  <a:cubicBezTo>
                    <a:pt x="400" y="180"/>
                    <a:pt x="384" y="204"/>
                    <a:pt x="383" y="208"/>
                  </a:cubicBezTo>
                  <a:cubicBezTo>
                    <a:pt x="383" y="212"/>
                    <a:pt x="362" y="200"/>
                    <a:pt x="342" y="196"/>
                  </a:cubicBezTo>
                  <a:cubicBezTo>
                    <a:pt x="322" y="191"/>
                    <a:pt x="312" y="229"/>
                    <a:pt x="311" y="234"/>
                  </a:cubicBezTo>
                  <a:cubicBezTo>
                    <a:pt x="309" y="240"/>
                    <a:pt x="275" y="252"/>
                    <a:pt x="271" y="254"/>
                  </a:cubicBezTo>
                  <a:cubicBezTo>
                    <a:pt x="267" y="257"/>
                    <a:pt x="241" y="256"/>
                    <a:pt x="241" y="256"/>
                  </a:cubicBezTo>
                  <a:cubicBezTo>
                    <a:pt x="241" y="256"/>
                    <a:pt x="203" y="281"/>
                    <a:pt x="196" y="285"/>
                  </a:cubicBezTo>
                  <a:cubicBezTo>
                    <a:pt x="189" y="289"/>
                    <a:pt x="213" y="325"/>
                    <a:pt x="213" y="328"/>
                  </a:cubicBezTo>
                  <a:cubicBezTo>
                    <a:pt x="213" y="332"/>
                    <a:pt x="175" y="361"/>
                    <a:pt x="171" y="370"/>
                  </a:cubicBezTo>
                  <a:cubicBezTo>
                    <a:pt x="167" y="378"/>
                    <a:pt x="149" y="394"/>
                    <a:pt x="142" y="400"/>
                  </a:cubicBezTo>
                  <a:cubicBezTo>
                    <a:pt x="135" y="406"/>
                    <a:pt x="123" y="402"/>
                    <a:pt x="111" y="408"/>
                  </a:cubicBezTo>
                  <a:cubicBezTo>
                    <a:pt x="99" y="413"/>
                    <a:pt x="103" y="457"/>
                    <a:pt x="107" y="474"/>
                  </a:cubicBezTo>
                  <a:cubicBezTo>
                    <a:pt x="111" y="492"/>
                    <a:pt x="109" y="512"/>
                    <a:pt x="109" y="522"/>
                  </a:cubicBezTo>
                  <a:cubicBezTo>
                    <a:pt x="109" y="532"/>
                    <a:pt x="92" y="524"/>
                    <a:pt x="92" y="524"/>
                  </a:cubicBezTo>
                  <a:cubicBezTo>
                    <a:pt x="11" y="580"/>
                    <a:pt x="11" y="580"/>
                    <a:pt x="11" y="580"/>
                  </a:cubicBezTo>
                  <a:cubicBezTo>
                    <a:pt x="11" y="604"/>
                    <a:pt x="11" y="604"/>
                    <a:pt x="11" y="604"/>
                  </a:cubicBezTo>
                  <a:cubicBezTo>
                    <a:pt x="0" y="614"/>
                    <a:pt x="0" y="614"/>
                    <a:pt x="0" y="614"/>
                  </a:cubicBezTo>
                  <a:cubicBezTo>
                    <a:pt x="2" y="615"/>
                    <a:pt x="2" y="615"/>
                    <a:pt x="2" y="615"/>
                  </a:cubicBezTo>
                  <a:cubicBezTo>
                    <a:pt x="19" y="657"/>
                    <a:pt x="19" y="657"/>
                    <a:pt x="19" y="657"/>
                  </a:cubicBezTo>
                  <a:cubicBezTo>
                    <a:pt x="44" y="655"/>
                    <a:pt x="44" y="655"/>
                    <a:pt x="44" y="655"/>
                  </a:cubicBezTo>
                  <a:cubicBezTo>
                    <a:pt x="44" y="655"/>
                    <a:pt x="50" y="670"/>
                    <a:pt x="59" y="671"/>
                  </a:cubicBezTo>
                  <a:cubicBezTo>
                    <a:pt x="68" y="672"/>
                    <a:pt x="77" y="678"/>
                    <a:pt x="77" y="678"/>
                  </a:cubicBezTo>
                  <a:cubicBezTo>
                    <a:pt x="77" y="678"/>
                    <a:pt x="101" y="712"/>
                    <a:pt x="101" y="716"/>
                  </a:cubicBezTo>
                  <a:cubicBezTo>
                    <a:pt x="101" y="719"/>
                    <a:pt x="95" y="725"/>
                    <a:pt x="95" y="725"/>
                  </a:cubicBezTo>
                  <a:cubicBezTo>
                    <a:pt x="95" y="725"/>
                    <a:pt x="111" y="734"/>
                    <a:pt x="104" y="737"/>
                  </a:cubicBezTo>
                  <a:cubicBezTo>
                    <a:pt x="96" y="739"/>
                    <a:pt x="82" y="754"/>
                    <a:pt x="82" y="754"/>
                  </a:cubicBezTo>
                  <a:cubicBezTo>
                    <a:pt x="101" y="771"/>
                    <a:pt x="101" y="771"/>
                    <a:pt x="101" y="771"/>
                  </a:cubicBezTo>
                  <a:cubicBezTo>
                    <a:pt x="101" y="771"/>
                    <a:pt x="112" y="743"/>
                    <a:pt x="120" y="758"/>
                  </a:cubicBezTo>
                  <a:cubicBezTo>
                    <a:pt x="127" y="774"/>
                    <a:pt x="119" y="786"/>
                    <a:pt x="119" y="786"/>
                  </a:cubicBezTo>
                  <a:cubicBezTo>
                    <a:pt x="136" y="801"/>
                    <a:pt x="136" y="801"/>
                    <a:pt x="136" y="801"/>
                  </a:cubicBezTo>
                  <a:cubicBezTo>
                    <a:pt x="146" y="789"/>
                    <a:pt x="146" y="789"/>
                    <a:pt x="146" y="789"/>
                  </a:cubicBezTo>
                  <a:cubicBezTo>
                    <a:pt x="146" y="789"/>
                    <a:pt x="157" y="792"/>
                    <a:pt x="158" y="799"/>
                  </a:cubicBezTo>
                  <a:cubicBezTo>
                    <a:pt x="159" y="807"/>
                    <a:pt x="159" y="823"/>
                    <a:pt x="159" y="823"/>
                  </a:cubicBezTo>
                  <a:cubicBezTo>
                    <a:pt x="174" y="836"/>
                    <a:pt x="174" y="836"/>
                    <a:pt x="174" y="836"/>
                  </a:cubicBezTo>
                  <a:cubicBezTo>
                    <a:pt x="176" y="859"/>
                    <a:pt x="176" y="859"/>
                    <a:pt x="176" y="859"/>
                  </a:cubicBezTo>
                  <a:cubicBezTo>
                    <a:pt x="179" y="855"/>
                    <a:pt x="181" y="853"/>
                    <a:pt x="183" y="854"/>
                  </a:cubicBezTo>
                  <a:cubicBezTo>
                    <a:pt x="189" y="856"/>
                    <a:pt x="195" y="912"/>
                    <a:pt x="201" y="923"/>
                  </a:cubicBezTo>
                  <a:cubicBezTo>
                    <a:pt x="206" y="935"/>
                    <a:pt x="224" y="929"/>
                    <a:pt x="224" y="929"/>
                  </a:cubicBezTo>
                  <a:cubicBezTo>
                    <a:pt x="239" y="881"/>
                    <a:pt x="239" y="881"/>
                    <a:pt x="239" y="881"/>
                  </a:cubicBezTo>
                  <a:cubicBezTo>
                    <a:pt x="239" y="881"/>
                    <a:pt x="309" y="882"/>
                    <a:pt x="311" y="882"/>
                  </a:cubicBezTo>
                  <a:cubicBezTo>
                    <a:pt x="313" y="882"/>
                    <a:pt x="320" y="860"/>
                    <a:pt x="320" y="860"/>
                  </a:cubicBezTo>
                  <a:cubicBezTo>
                    <a:pt x="320" y="860"/>
                    <a:pt x="346" y="869"/>
                    <a:pt x="373" y="876"/>
                  </a:cubicBezTo>
                  <a:cubicBezTo>
                    <a:pt x="400" y="883"/>
                    <a:pt x="417" y="861"/>
                    <a:pt x="433" y="868"/>
                  </a:cubicBezTo>
                  <a:cubicBezTo>
                    <a:pt x="448" y="874"/>
                    <a:pt x="435" y="891"/>
                    <a:pt x="435" y="891"/>
                  </a:cubicBezTo>
                  <a:cubicBezTo>
                    <a:pt x="456" y="908"/>
                    <a:pt x="456" y="908"/>
                    <a:pt x="456" y="908"/>
                  </a:cubicBezTo>
                  <a:cubicBezTo>
                    <a:pt x="456" y="908"/>
                    <a:pt x="482" y="893"/>
                    <a:pt x="493" y="895"/>
                  </a:cubicBezTo>
                  <a:cubicBezTo>
                    <a:pt x="504" y="898"/>
                    <a:pt x="494" y="920"/>
                    <a:pt x="494" y="920"/>
                  </a:cubicBezTo>
                  <a:cubicBezTo>
                    <a:pt x="494" y="920"/>
                    <a:pt x="523" y="942"/>
                    <a:pt x="535" y="950"/>
                  </a:cubicBezTo>
                  <a:cubicBezTo>
                    <a:pt x="547" y="958"/>
                    <a:pt x="543" y="980"/>
                    <a:pt x="544" y="991"/>
                  </a:cubicBezTo>
                  <a:cubicBezTo>
                    <a:pt x="545" y="1003"/>
                    <a:pt x="566" y="1030"/>
                    <a:pt x="566" y="1030"/>
                  </a:cubicBezTo>
                  <a:cubicBezTo>
                    <a:pt x="566" y="1030"/>
                    <a:pt x="553" y="1062"/>
                    <a:pt x="562" y="1073"/>
                  </a:cubicBezTo>
                  <a:cubicBezTo>
                    <a:pt x="572" y="1084"/>
                    <a:pt x="593" y="1046"/>
                    <a:pt x="597" y="1054"/>
                  </a:cubicBezTo>
                  <a:cubicBezTo>
                    <a:pt x="601" y="1061"/>
                    <a:pt x="618" y="1096"/>
                    <a:pt x="642" y="1101"/>
                  </a:cubicBezTo>
                  <a:cubicBezTo>
                    <a:pt x="665" y="1106"/>
                    <a:pt x="656" y="1084"/>
                    <a:pt x="656" y="1084"/>
                  </a:cubicBezTo>
                  <a:cubicBezTo>
                    <a:pt x="656" y="1084"/>
                    <a:pt x="676" y="1083"/>
                    <a:pt x="683" y="1081"/>
                  </a:cubicBezTo>
                  <a:cubicBezTo>
                    <a:pt x="690" y="1079"/>
                    <a:pt x="716" y="1096"/>
                    <a:pt x="716" y="1096"/>
                  </a:cubicBezTo>
                  <a:cubicBezTo>
                    <a:pt x="716" y="1096"/>
                    <a:pt x="719" y="1118"/>
                    <a:pt x="734" y="1126"/>
                  </a:cubicBezTo>
                  <a:cubicBezTo>
                    <a:pt x="749" y="1134"/>
                    <a:pt x="779" y="1119"/>
                    <a:pt x="794" y="1125"/>
                  </a:cubicBezTo>
                  <a:cubicBezTo>
                    <a:pt x="810" y="1132"/>
                    <a:pt x="794" y="1164"/>
                    <a:pt x="798" y="1170"/>
                  </a:cubicBezTo>
                  <a:cubicBezTo>
                    <a:pt x="803" y="1176"/>
                    <a:pt x="815" y="1185"/>
                    <a:pt x="825" y="1193"/>
                  </a:cubicBezTo>
                  <a:cubicBezTo>
                    <a:pt x="834" y="1201"/>
                    <a:pt x="843" y="1214"/>
                    <a:pt x="845" y="1214"/>
                  </a:cubicBezTo>
                  <a:cubicBezTo>
                    <a:pt x="847" y="1214"/>
                    <a:pt x="868" y="1198"/>
                    <a:pt x="868" y="1198"/>
                  </a:cubicBezTo>
                  <a:cubicBezTo>
                    <a:pt x="868" y="1198"/>
                    <a:pt x="875" y="1212"/>
                    <a:pt x="893" y="1227"/>
                  </a:cubicBezTo>
                  <a:cubicBezTo>
                    <a:pt x="910" y="1241"/>
                    <a:pt x="947" y="1225"/>
                    <a:pt x="947" y="1225"/>
                  </a:cubicBezTo>
                  <a:cubicBezTo>
                    <a:pt x="978" y="1185"/>
                    <a:pt x="978" y="1185"/>
                    <a:pt x="978" y="1185"/>
                  </a:cubicBezTo>
                  <a:cubicBezTo>
                    <a:pt x="951" y="1168"/>
                    <a:pt x="951" y="1168"/>
                    <a:pt x="951" y="1168"/>
                  </a:cubicBezTo>
                  <a:cubicBezTo>
                    <a:pt x="956" y="1148"/>
                    <a:pt x="956" y="1148"/>
                    <a:pt x="956" y="1148"/>
                  </a:cubicBezTo>
                  <a:cubicBezTo>
                    <a:pt x="927" y="1133"/>
                    <a:pt x="927" y="1133"/>
                    <a:pt x="927" y="1133"/>
                  </a:cubicBezTo>
                  <a:cubicBezTo>
                    <a:pt x="917" y="1096"/>
                    <a:pt x="917" y="1096"/>
                    <a:pt x="917" y="1096"/>
                  </a:cubicBezTo>
                  <a:cubicBezTo>
                    <a:pt x="917" y="1096"/>
                    <a:pt x="918" y="1096"/>
                    <a:pt x="919" y="1096"/>
                  </a:cubicBezTo>
                  <a:cubicBezTo>
                    <a:pt x="913" y="1091"/>
                    <a:pt x="908" y="1085"/>
                    <a:pt x="911" y="1082"/>
                  </a:cubicBezTo>
                  <a:cubicBezTo>
                    <a:pt x="919" y="1076"/>
                    <a:pt x="943" y="1071"/>
                    <a:pt x="939" y="1064"/>
                  </a:cubicBezTo>
                  <a:cubicBezTo>
                    <a:pt x="935" y="1058"/>
                    <a:pt x="925" y="1044"/>
                    <a:pt x="925" y="1044"/>
                  </a:cubicBezTo>
                  <a:cubicBezTo>
                    <a:pt x="909" y="1044"/>
                    <a:pt x="909" y="1044"/>
                    <a:pt x="909" y="1044"/>
                  </a:cubicBezTo>
                  <a:cubicBezTo>
                    <a:pt x="909" y="1044"/>
                    <a:pt x="907" y="1030"/>
                    <a:pt x="897" y="1030"/>
                  </a:cubicBezTo>
                  <a:cubicBezTo>
                    <a:pt x="888" y="1031"/>
                    <a:pt x="883" y="1038"/>
                    <a:pt x="883" y="1038"/>
                  </a:cubicBezTo>
                  <a:cubicBezTo>
                    <a:pt x="883" y="1038"/>
                    <a:pt x="869" y="1032"/>
                    <a:pt x="869" y="1025"/>
                  </a:cubicBezTo>
                  <a:cubicBezTo>
                    <a:pt x="869" y="1018"/>
                    <a:pt x="893" y="976"/>
                    <a:pt x="893" y="976"/>
                  </a:cubicBezTo>
                  <a:cubicBezTo>
                    <a:pt x="905" y="977"/>
                    <a:pt x="905" y="977"/>
                    <a:pt x="905" y="977"/>
                  </a:cubicBezTo>
                  <a:cubicBezTo>
                    <a:pt x="905" y="977"/>
                    <a:pt x="920" y="925"/>
                    <a:pt x="927" y="912"/>
                  </a:cubicBezTo>
                  <a:cubicBezTo>
                    <a:pt x="933" y="900"/>
                    <a:pt x="977" y="886"/>
                    <a:pt x="977" y="886"/>
                  </a:cubicBezTo>
                  <a:cubicBezTo>
                    <a:pt x="989" y="897"/>
                    <a:pt x="989" y="897"/>
                    <a:pt x="989" y="897"/>
                  </a:cubicBezTo>
                  <a:cubicBezTo>
                    <a:pt x="999" y="862"/>
                    <a:pt x="999" y="862"/>
                    <a:pt x="999" y="862"/>
                  </a:cubicBezTo>
                  <a:cubicBezTo>
                    <a:pt x="1017" y="856"/>
                    <a:pt x="1017" y="856"/>
                    <a:pt x="1017" y="856"/>
                  </a:cubicBezTo>
                  <a:cubicBezTo>
                    <a:pt x="1028" y="840"/>
                    <a:pt x="1028" y="840"/>
                    <a:pt x="1028" y="840"/>
                  </a:cubicBezTo>
                  <a:cubicBezTo>
                    <a:pt x="1009" y="828"/>
                    <a:pt x="1009" y="828"/>
                    <a:pt x="1009" y="828"/>
                  </a:cubicBezTo>
                  <a:cubicBezTo>
                    <a:pt x="1009" y="828"/>
                    <a:pt x="990" y="844"/>
                    <a:pt x="977" y="839"/>
                  </a:cubicBezTo>
                  <a:cubicBezTo>
                    <a:pt x="965" y="834"/>
                    <a:pt x="964" y="831"/>
                    <a:pt x="961" y="832"/>
                  </a:cubicBezTo>
                  <a:cubicBezTo>
                    <a:pt x="959" y="832"/>
                    <a:pt x="947" y="841"/>
                    <a:pt x="945" y="841"/>
                  </a:cubicBezTo>
                  <a:cubicBezTo>
                    <a:pt x="943" y="841"/>
                    <a:pt x="935" y="828"/>
                    <a:pt x="926" y="828"/>
                  </a:cubicBezTo>
                  <a:cubicBezTo>
                    <a:pt x="917" y="828"/>
                    <a:pt x="907" y="828"/>
                    <a:pt x="907" y="828"/>
                  </a:cubicBezTo>
                  <a:cubicBezTo>
                    <a:pt x="891" y="817"/>
                    <a:pt x="891" y="817"/>
                    <a:pt x="891" y="817"/>
                  </a:cubicBezTo>
                  <a:cubicBezTo>
                    <a:pt x="891" y="817"/>
                    <a:pt x="894" y="803"/>
                    <a:pt x="890" y="791"/>
                  </a:cubicBezTo>
                  <a:cubicBezTo>
                    <a:pt x="886" y="779"/>
                    <a:pt x="921" y="736"/>
                    <a:pt x="921" y="736"/>
                  </a:cubicBezTo>
                  <a:cubicBezTo>
                    <a:pt x="921" y="736"/>
                    <a:pt x="955" y="762"/>
                    <a:pt x="957" y="764"/>
                  </a:cubicBezTo>
                  <a:cubicBezTo>
                    <a:pt x="959" y="766"/>
                    <a:pt x="980" y="787"/>
                    <a:pt x="980" y="787"/>
                  </a:cubicBezTo>
                  <a:cubicBezTo>
                    <a:pt x="980" y="787"/>
                    <a:pt x="1037" y="780"/>
                    <a:pt x="1035" y="774"/>
                  </a:cubicBezTo>
                  <a:cubicBezTo>
                    <a:pt x="1033" y="768"/>
                    <a:pt x="1017" y="749"/>
                    <a:pt x="1023" y="744"/>
                  </a:cubicBezTo>
                  <a:cubicBezTo>
                    <a:pt x="1029" y="738"/>
                    <a:pt x="1038" y="726"/>
                    <a:pt x="1038" y="726"/>
                  </a:cubicBezTo>
                  <a:cubicBezTo>
                    <a:pt x="1040" y="702"/>
                    <a:pt x="1040" y="702"/>
                    <a:pt x="1040" y="702"/>
                  </a:cubicBezTo>
                  <a:cubicBezTo>
                    <a:pt x="1040" y="702"/>
                    <a:pt x="1029" y="712"/>
                    <a:pt x="1022" y="705"/>
                  </a:cubicBezTo>
                  <a:cubicBezTo>
                    <a:pt x="1015" y="698"/>
                    <a:pt x="1013" y="692"/>
                    <a:pt x="1007" y="692"/>
                  </a:cubicBezTo>
                  <a:cubicBezTo>
                    <a:pt x="1001" y="692"/>
                    <a:pt x="989" y="699"/>
                    <a:pt x="989" y="696"/>
                  </a:cubicBezTo>
                  <a:cubicBezTo>
                    <a:pt x="988" y="694"/>
                    <a:pt x="951" y="658"/>
                    <a:pt x="951" y="656"/>
                  </a:cubicBezTo>
                  <a:cubicBezTo>
                    <a:pt x="951" y="654"/>
                    <a:pt x="976" y="639"/>
                    <a:pt x="977" y="628"/>
                  </a:cubicBezTo>
                  <a:cubicBezTo>
                    <a:pt x="979" y="618"/>
                    <a:pt x="977" y="600"/>
                    <a:pt x="987" y="599"/>
                  </a:cubicBezTo>
                  <a:cubicBezTo>
                    <a:pt x="996" y="598"/>
                    <a:pt x="994" y="612"/>
                    <a:pt x="1009" y="608"/>
                  </a:cubicBezTo>
                  <a:cubicBezTo>
                    <a:pt x="1025" y="605"/>
                    <a:pt x="1036" y="570"/>
                    <a:pt x="1036" y="570"/>
                  </a:cubicBezTo>
                  <a:cubicBezTo>
                    <a:pt x="1055" y="558"/>
                    <a:pt x="1055" y="558"/>
                    <a:pt x="1055" y="558"/>
                  </a:cubicBezTo>
                  <a:cubicBezTo>
                    <a:pt x="1055" y="558"/>
                    <a:pt x="1089" y="567"/>
                    <a:pt x="1093" y="562"/>
                  </a:cubicBezTo>
                  <a:cubicBezTo>
                    <a:pt x="1097" y="558"/>
                    <a:pt x="1091" y="540"/>
                    <a:pt x="1091" y="538"/>
                  </a:cubicBezTo>
                  <a:cubicBezTo>
                    <a:pt x="1091" y="536"/>
                    <a:pt x="1103" y="521"/>
                    <a:pt x="1109" y="521"/>
                  </a:cubicBezTo>
                  <a:cubicBezTo>
                    <a:pt x="1115" y="521"/>
                    <a:pt x="1159" y="528"/>
                    <a:pt x="1155" y="505"/>
                  </a:cubicBezTo>
                  <a:cubicBezTo>
                    <a:pt x="1152" y="482"/>
                    <a:pt x="1146" y="476"/>
                    <a:pt x="1147" y="473"/>
                  </a:cubicBezTo>
                  <a:cubicBezTo>
                    <a:pt x="1149" y="470"/>
                    <a:pt x="1167" y="459"/>
                    <a:pt x="1165" y="448"/>
                  </a:cubicBezTo>
                  <a:cubicBezTo>
                    <a:pt x="1162" y="436"/>
                    <a:pt x="1135" y="402"/>
                    <a:pt x="1145" y="398"/>
                  </a:cubicBezTo>
                  <a:cubicBezTo>
                    <a:pt x="1155" y="394"/>
                    <a:pt x="1192" y="373"/>
                    <a:pt x="1213" y="345"/>
                  </a:cubicBezTo>
                  <a:cubicBezTo>
                    <a:pt x="1235" y="317"/>
                    <a:pt x="1259" y="295"/>
                    <a:pt x="1253" y="263"/>
                  </a:cubicBezTo>
                  <a:cubicBezTo>
                    <a:pt x="1253" y="263"/>
                    <a:pt x="1277" y="254"/>
                    <a:pt x="1277" y="242"/>
                  </a:cubicBezTo>
                  <a:cubicBezTo>
                    <a:pt x="1277" y="238"/>
                    <a:pt x="1277" y="235"/>
                    <a:pt x="1278" y="233"/>
                  </a:cubicBezTo>
                  <a:cubicBezTo>
                    <a:pt x="1266" y="233"/>
                    <a:pt x="1249" y="233"/>
                    <a:pt x="1249" y="233"/>
                  </a:cubicBezTo>
                  <a:cubicBezTo>
                    <a:pt x="1249" y="233"/>
                    <a:pt x="1182" y="200"/>
                    <a:pt x="1156" y="190"/>
                  </a:cubicBezTo>
                  <a:close/>
                </a:path>
              </a:pathLst>
            </a:custGeom>
            <a:noFill/>
            <a:ln w="3175" cap="flat" cmpd="sng">
              <a:solidFill>
                <a:srgbClr val="585858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473" name="Freeform 224"/>
            <p:cNvSpPr>
              <a:spLocks noChangeAspect="1" noEditPoints="1"/>
            </p:cNvSpPr>
            <p:nvPr/>
          </p:nvSpPr>
          <p:spPr bwMode="auto">
            <a:xfrm>
              <a:off x="433" y="1054"/>
              <a:ext cx="2106" cy="1377"/>
            </a:xfrm>
            <a:custGeom>
              <a:avLst/>
              <a:gdLst>
                <a:gd name="T0" fmla="*/ 2638 w 2895"/>
                <a:gd name="T1" fmla="*/ 119 h 1894"/>
                <a:gd name="T2" fmla="*/ 2723 w 2895"/>
                <a:gd name="T3" fmla="*/ 110 h 1894"/>
                <a:gd name="T4" fmla="*/ 2718 w 2895"/>
                <a:gd name="T5" fmla="*/ 54 h 1894"/>
                <a:gd name="T6" fmla="*/ 2826 w 2895"/>
                <a:gd name="T7" fmla="*/ 143 h 1894"/>
                <a:gd name="T8" fmla="*/ 2768 w 2895"/>
                <a:gd name="T9" fmla="*/ 46 h 1894"/>
                <a:gd name="T10" fmla="*/ 2585 w 2895"/>
                <a:gd name="T11" fmla="*/ 27 h 1894"/>
                <a:gd name="T12" fmla="*/ 2789 w 2895"/>
                <a:gd name="T13" fmla="*/ 569 h 1894"/>
                <a:gd name="T14" fmla="*/ 2544 w 2895"/>
                <a:gd name="T15" fmla="*/ 593 h 1894"/>
                <a:gd name="T16" fmla="*/ 2434 w 2895"/>
                <a:gd name="T17" fmla="*/ 687 h 1894"/>
                <a:gd name="T18" fmla="*/ 2370 w 2895"/>
                <a:gd name="T19" fmla="*/ 812 h 1894"/>
                <a:gd name="T20" fmla="*/ 2461 w 2895"/>
                <a:gd name="T21" fmla="*/ 718 h 1894"/>
                <a:gd name="T22" fmla="*/ 2165 w 2895"/>
                <a:gd name="T23" fmla="*/ 908 h 1894"/>
                <a:gd name="T24" fmla="*/ 2210 w 2895"/>
                <a:gd name="T25" fmla="*/ 1014 h 1894"/>
                <a:gd name="T26" fmla="*/ 2257 w 2895"/>
                <a:gd name="T27" fmla="*/ 909 h 1894"/>
                <a:gd name="T28" fmla="*/ 2309 w 2895"/>
                <a:gd name="T29" fmla="*/ 771 h 1894"/>
                <a:gd name="T30" fmla="*/ 2165 w 2895"/>
                <a:gd name="T31" fmla="*/ 908 h 1894"/>
                <a:gd name="T32" fmla="*/ 2649 w 2895"/>
                <a:gd name="T33" fmla="*/ 36 h 1894"/>
                <a:gd name="T34" fmla="*/ 2560 w 2895"/>
                <a:gd name="T35" fmla="*/ 83 h 1894"/>
                <a:gd name="T36" fmla="*/ 2886 w 2895"/>
                <a:gd name="T37" fmla="*/ 113 h 1894"/>
                <a:gd name="T38" fmla="*/ 126 w 2895"/>
                <a:gd name="T39" fmla="*/ 1119 h 1894"/>
                <a:gd name="T40" fmla="*/ 120 w 2895"/>
                <a:gd name="T41" fmla="*/ 1150 h 1894"/>
                <a:gd name="T42" fmla="*/ 2326 w 2895"/>
                <a:gd name="T43" fmla="*/ 1171 h 1894"/>
                <a:gd name="T44" fmla="*/ 2317 w 2895"/>
                <a:gd name="T45" fmla="*/ 1185 h 1894"/>
                <a:gd name="T46" fmla="*/ 2301 w 2895"/>
                <a:gd name="T47" fmla="*/ 1257 h 1894"/>
                <a:gd name="T48" fmla="*/ 2191 w 2895"/>
                <a:gd name="T49" fmla="*/ 1238 h 1894"/>
                <a:gd name="T50" fmla="*/ 2055 w 2895"/>
                <a:gd name="T51" fmla="*/ 1177 h 1894"/>
                <a:gd name="T52" fmla="*/ 1943 w 2895"/>
                <a:gd name="T53" fmla="*/ 1149 h 1894"/>
                <a:gd name="T54" fmla="*/ 1721 w 2895"/>
                <a:gd name="T55" fmla="*/ 1133 h 1894"/>
                <a:gd name="T56" fmla="*/ 1757 w 2895"/>
                <a:gd name="T57" fmla="*/ 993 h 1894"/>
                <a:gd name="T58" fmla="*/ 1671 w 2895"/>
                <a:gd name="T59" fmla="*/ 1130 h 1894"/>
                <a:gd name="T60" fmla="*/ 1495 w 2895"/>
                <a:gd name="T61" fmla="*/ 1109 h 1894"/>
                <a:gd name="T62" fmla="*/ 1353 w 2895"/>
                <a:gd name="T63" fmla="*/ 1127 h 1894"/>
                <a:gd name="T64" fmla="*/ 1309 w 2895"/>
                <a:gd name="T65" fmla="*/ 1147 h 1894"/>
                <a:gd name="T66" fmla="*/ 1308 w 2895"/>
                <a:gd name="T67" fmla="*/ 884 h 1894"/>
                <a:gd name="T68" fmla="*/ 1344 w 2895"/>
                <a:gd name="T69" fmla="*/ 850 h 1894"/>
                <a:gd name="T70" fmla="*/ 1595 w 2895"/>
                <a:gd name="T71" fmla="*/ 1030 h 1894"/>
                <a:gd name="T72" fmla="*/ 1558 w 2895"/>
                <a:gd name="T73" fmla="*/ 730 h 1894"/>
                <a:gd name="T74" fmla="*/ 1535 w 2895"/>
                <a:gd name="T75" fmla="*/ 603 h 1894"/>
                <a:gd name="T76" fmla="*/ 1359 w 2895"/>
                <a:gd name="T77" fmla="*/ 596 h 1894"/>
                <a:gd name="T78" fmla="*/ 1156 w 2895"/>
                <a:gd name="T79" fmla="*/ 826 h 1894"/>
                <a:gd name="T80" fmla="*/ 800 w 2895"/>
                <a:gd name="T81" fmla="*/ 1081 h 1894"/>
                <a:gd name="T82" fmla="*/ 731 w 2895"/>
                <a:gd name="T83" fmla="*/ 1156 h 1894"/>
                <a:gd name="T84" fmla="*/ 497 w 2895"/>
                <a:gd name="T85" fmla="*/ 1236 h 1894"/>
                <a:gd name="T86" fmla="*/ 464 w 2895"/>
                <a:gd name="T87" fmla="*/ 1497 h 1894"/>
                <a:gd name="T88" fmla="*/ 545 w 2895"/>
                <a:gd name="T89" fmla="*/ 1428 h 1894"/>
                <a:gd name="T90" fmla="*/ 775 w 2895"/>
                <a:gd name="T91" fmla="*/ 1479 h 1894"/>
                <a:gd name="T92" fmla="*/ 973 w 2895"/>
                <a:gd name="T93" fmla="*/ 1583 h 1894"/>
                <a:gd name="T94" fmla="*/ 1154 w 2895"/>
                <a:gd name="T95" fmla="*/ 1679 h 1894"/>
                <a:gd name="T96" fmla="*/ 1344 w 2895"/>
                <a:gd name="T97" fmla="*/ 1701 h 1894"/>
                <a:gd name="T98" fmla="*/ 1404 w 2895"/>
                <a:gd name="T99" fmla="*/ 1801 h 1894"/>
                <a:gd name="T100" fmla="*/ 1524 w 2895"/>
                <a:gd name="T101" fmla="*/ 1843 h 1894"/>
                <a:gd name="T102" fmla="*/ 1648 w 2895"/>
                <a:gd name="T103" fmla="*/ 1813 h 1894"/>
                <a:gd name="T104" fmla="*/ 1792 w 2895"/>
                <a:gd name="T105" fmla="*/ 1867 h 1894"/>
                <a:gd name="T106" fmla="*/ 1990 w 2895"/>
                <a:gd name="T107" fmla="*/ 1803 h 1894"/>
                <a:gd name="T108" fmla="*/ 2196 w 2895"/>
                <a:gd name="T109" fmla="*/ 1581 h 1894"/>
                <a:gd name="T110" fmla="*/ 2414 w 2895"/>
                <a:gd name="T111" fmla="*/ 1416 h 1894"/>
                <a:gd name="T112" fmla="*/ 858 w 2895"/>
                <a:gd name="T113" fmla="*/ 1252 h 1894"/>
                <a:gd name="T114" fmla="*/ 915 w 2895"/>
                <a:gd name="T115" fmla="*/ 1099 h 1894"/>
                <a:gd name="T116" fmla="*/ 1020 w 2895"/>
                <a:gd name="T117" fmla="*/ 1295 h 1894"/>
                <a:gd name="T118" fmla="*/ 1096 w 2895"/>
                <a:gd name="T119" fmla="*/ 1202 h 189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895"/>
                <a:gd name="T181" fmla="*/ 0 h 1894"/>
                <a:gd name="T182" fmla="*/ 2895 w 2895"/>
                <a:gd name="T183" fmla="*/ 1894 h 189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895" h="1894">
                  <a:moveTo>
                    <a:pt x="2732" y="134"/>
                  </a:moveTo>
                  <a:cubicBezTo>
                    <a:pt x="2720" y="176"/>
                    <a:pt x="2720" y="176"/>
                    <a:pt x="2720" y="176"/>
                  </a:cubicBezTo>
                  <a:cubicBezTo>
                    <a:pt x="2735" y="171"/>
                    <a:pt x="2743" y="160"/>
                    <a:pt x="2751" y="160"/>
                  </a:cubicBezTo>
                  <a:cubicBezTo>
                    <a:pt x="2759" y="160"/>
                    <a:pt x="2732" y="134"/>
                    <a:pt x="2732" y="134"/>
                  </a:cubicBezTo>
                  <a:close/>
                  <a:moveTo>
                    <a:pt x="2638" y="119"/>
                  </a:moveTo>
                  <a:cubicBezTo>
                    <a:pt x="2638" y="119"/>
                    <a:pt x="2663" y="132"/>
                    <a:pt x="2663" y="121"/>
                  </a:cubicBezTo>
                  <a:cubicBezTo>
                    <a:pt x="2663" y="110"/>
                    <a:pt x="2659" y="104"/>
                    <a:pt x="2659" y="104"/>
                  </a:cubicBezTo>
                  <a:cubicBezTo>
                    <a:pt x="2659" y="104"/>
                    <a:pt x="2648" y="119"/>
                    <a:pt x="2638" y="119"/>
                  </a:cubicBezTo>
                  <a:close/>
                  <a:moveTo>
                    <a:pt x="2718" y="152"/>
                  </a:moveTo>
                  <a:cubicBezTo>
                    <a:pt x="2713" y="143"/>
                    <a:pt x="2688" y="138"/>
                    <a:pt x="2679" y="160"/>
                  </a:cubicBezTo>
                  <a:cubicBezTo>
                    <a:pt x="2704" y="171"/>
                    <a:pt x="2704" y="171"/>
                    <a:pt x="2704" y="171"/>
                  </a:cubicBezTo>
                  <a:cubicBezTo>
                    <a:pt x="2704" y="171"/>
                    <a:pt x="2723" y="162"/>
                    <a:pt x="2718" y="152"/>
                  </a:cubicBezTo>
                  <a:close/>
                  <a:moveTo>
                    <a:pt x="2828" y="16"/>
                  </a:moveTo>
                  <a:cubicBezTo>
                    <a:pt x="2821" y="7"/>
                    <a:pt x="2812" y="0"/>
                    <a:pt x="2811" y="19"/>
                  </a:cubicBezTo>
                  <a:cubicBezTo>
                    <a:pt x="2811" y="19"/>
                    <a:pt x="2834" y="25"/>
                    <a:pt x="2828" y="16"/>
                  </a:cubicBezTo>
                  <a:close/>
                  <a:moveTo>
                    <a:pt x="2723" y="110"/>
                  </a:moveTo>
                  <a:cubicBezTo>
                    <a:pt x="2734" y="121"/>
                    <a:pt x="2749" y="110"/>
                    <a:pt x="2749" y="110"/>
                  </a:cubicBezTo>
                  <a:cubicBezTo>
                    <a:pt x="2749" y="110"/>
                    <a:pt x="2770" y="113"/>
                    <a:pt x="2774" y="110"/>
                  </a:cubicBezTo>
                  <a:cubicBezTo>
                    <a:pt x="2779" y="107"/>
                    <a:pt x="2764" y="99"/>
                    <a:pt x="2764" y="99"/>
                  </a:cubicBezTo>
                  <a:cubicBezTo>
                    <a:pt x="2778" y="85"/>
                    <a:pt x="2778" y="85"/>
                    <a:pt x="2778" y="85"/>
                  </a:cubicBezTo>
                  <a:cubicBezTo>
                    <a:pt x="2764" y="85"/>
                    <a:pt x="2764" y="85"/>
                    <a:pt x="2764" y="85"/>
                  </a:cubicBezTo>
                  <a:cubicBezTo>
                    <a:pt x="2745" y="66"/>
                    <a:pt x="2745" y="66"/>
                    <a:pt x="2745" y="66"/>
                  </a:cubicBezTo>
                  <a:cubicBezTo>
                    <a:pt x="2731" y="65"/>
                    <a:pt x="2731" y="65"/>
                    <a:pt x="2731" y="65"/>
                  </a:cubicBezTo>
                  <a:cubicBezTo>
                    <a:pt x="2718" y="54"/>
                    <a:pt x="2718" y="54"/>
                    <a:pt x="2718" y="54"/>
                  </a:cubicBezTo>
                  <a:cubicBezTo>
                    <a:pt x="2716" y="74"/>
                    <a:pt x="2716" y="74"/>
                    <a:pt x="2716" y="74"/>
                  </a:cubicBezTo>
                  <a:cubicBezTo>
                    <a:pt x="2693" y="71"/>
                    <a:pt x="2693" y="71"/>
                    <a:pt x="2693" y="71"/>
                  </a:cubicBezTo>
                  <a:cubicBezTo>
                    <a:pt x="2691" y="87"/>
                    <a:pt x="2723" y="110"/>
                    <a:pt x="2723" y="110"/>
                  </a:cubicBezTo>
                  <a:close/>
                  <a:moveTo>
                    <a:pt x="2793" y="129"/>
                  </a:moveTo>
                  <a:cubicBezTo>
                    <a:pt x="2790" y="118"/>
                    <a:pt x="2790" y="118"/>
                    <a:pt x="2790" y="118"/>
                  </a:cubicBezTo>
                  <a:cubicBezTo>
                    <a:pt x="2790" y="118"/>
                    <a:pt x="2762" y="132"/>
                    <a:pt x="2767" y="156"/>
                  </a:cubicBezTo>
                  <a:cubicBezTo>
                    <a:pt x="2787" y="166"/>
                    <a:pt x="2787" y="166"/>
                    <a:pt x="2787" y="166"/>
                  </a:cubicBezTo>
                  <a:cubicBezTo>
                    <a:pt x="2787" y="166"/>
                    <a:pt x="2832" y="157"/>
                    <a:pt x="2826" y="143"/>
                  </a:cubicBezTo>
                  <a:cubicBezTo>
                    <a:pt x="2820" y="129"/>
                    <a:pt x="2793" y="129"/>
                    <a:pt x="2793" y="129"/>
                  </a:cubicBezTo>
                  <a:close/>
                  <a:moveTo>
                    <a:pt x="2768" y="46"/>
                  </a:moveTo>
                  <a:cubicBezTo>
                    <a:pt x="2782" y="52"/>
                    <a:pt x="2801" y="63"/>
                    <a:pt x="2801" y="63"/>
                  </a:cubicBezTo>
                  <a:cubicBezTo>
                    <a:pt x="2801" y="63"/>
                    <a:pt x="2800" y="30"/>
                    <a:pt x="2787" y="27"/>
                  </a:cubicBezTo>
                  <a:cubicBezTo>
                    <a:pt x="2774" y="24"/>
                    <a:pt x="2771" y="35"/>
                    <a:pt x="2771" y="35"/>
                  </a:cubicBezTo>
                  <a:cubicBezTo>
                    <a:pt x="2742" y="41"/>
                    <a:pt x="2742" y="41"/>
                    <a:pt x="2742" y="41"/>
                  </a:cubicBezTo>
                  <a:cubicBezTo>
                    <a:pt x="2767" y="69"/>
                    <a:pt x="2767" y="69"/>
                    <a:pt x="2767" y="69"/>
                  </a:cubicBezTo>
                  <a:cubicBezTo>
                    <a:pt x="2767" y="69"/>
                    <a:pt x="2754" y="40"/>
                    <a:pt x="2768" y="46"/>
                  </a:cubicBezTo>
                  <a:close/>
                  <a:moveTo>
                    <a:pt x="2826" y="99"/>
                  </a:moveTo>
                  <a:cubicBezTo>
                    <a:pt x="2804" y="93"/>
                    <a:pt x="2804" y="115"/>
                    <a:pt x="2804" y="115"/>
                  </a:cubicBezTo>
                  <a:cubicBezTo>
                    <a:pt x="2818" y="116"/>
                    <a:pt x="2848" y="105"/>
                    <a:pt x="2826" y="99"/>
                  </a:cubicBezTo>
                  <a:close/>
                  <a:moveTo>
                    <a:pt x="2599" y="134"/>
                  </a:moveTo>
                  <a:cubicBezTo>
                    <a:pt x="2607" y="121"/>
                    <a:pt x="2607" y="121"/>
                    <a:pt x="2607" y="121"/>
                  </a:cubicBezTo>
                  <a:cubicBezTo>
                    <a:pt x="2583" y="121"/>
                    <a:pt x="2583" y="121"/>
                    <a:pt x="2583" y="121"/>
                  </a:cubicBezTo>
                  <a:lnTo>
                    <a:pt x="2599" y="134"/>
                  </a:lnTo>
                  <a:close/>
                  <a:moveTo>
                    <a:pt x="2585" y="27"/>
                  </a:moveTo>
                  <a:cubicBezTo>
                    <a:pt x="2597" y="36"/>
                    <a:pt x="2597" y="36"/>
                    <a:pt x="2597" y="36"/>
                  </a:cubicBezTo>
                  <a:cubicBezTo>
                    <a:pt x="2597" y="36"/>
                    <a:pt x="2616" y="30"/>
                    <a:pt x="2607" y="24"/>
                  </a:cubicBezTo>
                  <a:cubicBezTo>
                    <a:pt x="2597" y="18"/>
                    <a:pt x="2599" y="7"/>
                    <a:pt x="2591" y="7"/>
                  </a:cubicBezTo>
                  <a:cubicBezTo>
                    <a:pt x="2583" y="7"/>
                    <a:pt x="2565" y="10"/>
                    <a:pt x="2565" y="10"/>
                  </a:cubicBezTo>
                  <a:cubicBezTo>
                    <a:pt x="2552" y="2"/>
                    <a:pt x="2552" y="2"/>
                    <a:pt x="2552" y="2"/>
                  </a:cubicBezTo>
                  <a:cubicBezTo>
                    <a:pt x="2555" y="33"/>
                    <a:pt x="2555" y="33"/>
                    <a:pt x="2555" y="33"/>
                  </a:cubicBezTo>
                  <a:lnTo>
                    <a:pt x="2585" y="27"/>
                  </a:lnTo>
                  <a:close/>
                  <a:moveTo>
                    <a:pt x="2789" y="569"/>
                  </a:moveTo>
                  <a:cubicBezTo>
                    <a:pt x="2764" y="571"/>
                    <a:pt x="2731" y="601"/>
                    <a:pt x="2731" y="601"/>
                  </a:cubicBezTo>
                  <a:cubicBezTo>
                    <a:pt x="2702" y="597"/>
                    <a:pt x="2702" y="597"/>
                    <a:pt x="2702" y="597"/>
                  </a:cubicBezTo>
                  <a:cubicBezTo>
                    <a:pt x="2690" y="610"/>
                    <a:pt x="2690" y="610"/>
                    <a:pt x="2690" y="610"/>
                  </a:cubicBezTo>
                  <a:cubicBezTo>
                    <a:pt x="2644" y="604"/>
                    <a:pt x="2644" y="604"/>
                    <a:pt x="2644" y="604"/>
                  </a:cubicBezTo>
                  <a:cubicBezTo>
                    <a:pt x="2644" y="604"/>
                    <a:pt x="2622" y="569"/>
                    <a:pt x="2613" y="582"/>
                  </a:cubicBezTo>
                  <a:cubicBezTo>
                    <a:pt x="2604" y="594"/>
                    <a:pt x="2594" y="602"/>
                    <a:pt x="2594" y="602"/>
                  </a:cubicBezTo>
                  <a:cubicBezTo>
                    <a:pt x="2546" y="601"/>
                    <a:pt x="2546" y="601"/>
                    <a:pt x="2546" y="601"/>
                  </a:cubicBezTo>
                  <a:cubicBezTo>
                    <a:pt x="2546" y="601"/>
                    <a:pt x="2549" y="593"/>
                    <a:pt x="2544" y="593"/>
                  </a:cubicBezTo>
                  <a:cubicBezTo>
                    <a:pt x="2539" y="593"/>
                    <a:pt x="2502" y="604"/>
                    <a:pt x="2502" y="604"/>
                  </a:cubicBezTo>
                  <a:cubicBezTo>
                    <a:pt x="2483" y="638"/>
                    <a:pt x="2483" y="638"/>
                    <a:pt x="2483" y="638"/>
                  </a:cubicBezTo>
                  <a:cubicBezTo>
                    <a:pt x="2471" y="626"/>
                    <a:pt x="2471" y="626"/>
                    <a:pt x="2471" y="626"/>
                  </a:cubicBezTo>
                  <a:cubicBezTo>
                    <a:pt x="2449" y="643"/>
                    <a:pt x="2449" y="643"/>
                    <a:pt x="2449" y="643"/>
                  </a:cubicBezTo>
                  <a:cubicBezTo>
                    <a:pt x="2434" y="627"/>
                    <a:pt x="2434" y="627"/>
                    <a:pt x="2434" y="627"/>
                  </a:cubicBezTo>
                  <a:cubicBezTo>
                    <a:pt x="2431" y="657"/>
                    <a:pt x="2431" y="657"/>
                    <a:pt x="2431" y="657"/>
                  </a:cubicBezTo>
                  <a:cubicBezTo>
                    <a:pt x="2414" y="660"/>
                    <a:pt x="2414" y="660"/>
                    <a:pt x="2414" y="660"/>
                  </a:cubicBezTo>
                  <a:cubicBezTo>
                    <a:pt x="2434" y="687"/>
                    <a:pt x="2434" y="687"/>
                    <a:pt x="2434" y="687"/>
                  </a:cubicBezTo>
                  <a:cubicBezTo>
                    <a:pt x="2408" y="673"/>
                    <a:pt x="2408" y="673"/>
                    <a:pt x="2408" y="673"/>
                  </a:cubicBezTo>
                  <a:cubicBezTo>
                    <a:pt x="2420" y="696"/>
                    <a:pt x="2420" y="696"/>
                    <a:pt x="2420" y="696"/>
                  </a:cubicBezTo>
                  <a:cubicBezTo>
                    <a:pt x="2420" y="696"/>
                    <a:pt x="2405" y="687"/>
                    <a:pt x="2384" y="699"/>
                  </a:cubicBezTo>
                  <a:cubicBezTo>
                    <a:pt x="2364" y="712"/>
                    <a:pt x="2342" y="721"/>
                    <a:pt x="2342" y="721"/>
                  </a:cubicBezTo>
                  <a:cubicBezTo>
                    <a:pt x="2314" y="732"/>
                    <a:pt x="2314" y="732"/>
                    <a:pt x="2314" y="732"/>
                  </a:cubicBezTo>
                  <a:cubicBezTo>
                    <a:pt x="2340" y="749"/>
                    <a:pt x="2340" y="749"/>
                    <a:pt x="2340" y="749"/>
                  </a:cubicBezTo>
                  <a:cubicBezTo>
                    <a:pt x="2340" y="749"/>
                    <a:pt x="2312" y="746"/>
                    <a:pt x="2314" y="754"/>
                  </a:cubicBezTo>
                  <a:cubicBezTo>
                    <a:pt x="2315" y="762"/>
                    <a:pt x="2351" y="798"/>
                    <a:pt x="2370" y="812"/>
                  </a:cubicBezTo>
                  <a:cubicBezTo>
                    <a:pt x="2370" y="812"/>
                    <a:pt x="2383" y="793"/>
                    <a:pt x="2383" y="787"/>
                  </a:cubicBezTo>
                  <a:cubicBezTo>
                    <a:pt x="2383" y="781"/>
                    <a:pt x="2398" y="789"/>
                    <a:pt x="2398" y="789"/>
                  </a:cubicBezTo>
                  <a:cubicBezTo>
                    <a:pt x="2406" y="767"/>
                    <a:pt x="2406" y="767"/>
                    <a:pt x="2406" y="767"/>
                  </a:cubicBezTo>
                  <a:cubicBezTo>
                    <a:pt x="2406" y="767"/>
                    <a:pt x="2419" y="790"/>
                    <a:pt x="2419" y="782"/>
                  </a:cubicBezTo>
                  <a:cubicBezTo>
                    <a:pt x="2419" y="774"/>
                    <a:pt x="2427" y="734"/>
                    <a:pt x="2427" y="734"/>
                  </a:cubicBezTo>
                  <a:cubicBezTo>
                    <a:pt x="2427" y="734"/>
                    <a:pt x="2430" y="767"/>
                    <a:pt x="2434" y="767"/>
                  </a:cubicBezTo>
                  <a:cubicBezTo>
                    <a:pt x="2439" y="767"/>
                    <a:pt x="2461" y="753"/>
                    <a:pt x="2461" y="748"/>
                  </a:cubicBezTo>
                  <a:cubicBezTo>
                    <a:pt x="2461" y="743"/>
                    <a:pt x="2450" y="709"/>
                    <a:pt x="2461" y="718"/>
                  </a:cubicBezTo>
                  <a:cubicBezTo>
                    <a:pt x="2472" y="727"/>
                    <a:pt x="2467" y="737"/>
                    <a:pt x="2483" y="729"/>
                  </a:cubicBezTo>
                  <a:cubicBezTo>
                    <a:pt x="2499" y="721"/>
                    <a:pt x="2499" y="721"/>
                    <a:pt x="2499" y="721"/>
                  </a:cubicBezTo>
                  <a:cubicBezTo>
                    <a:pt x="2499" y="721"/>
                    <a:pt x="2514" y="737"/>
                    <a:pt x="2524" y="718"/>
                  </a:cubicBezTo>
                  <a:cubicBezTo>
                    <a:pt x="2533" y="699"/>
                    <a:pt x="2535" y="691"/>
                    <a:pt x="2535" y="691"/>
                  </a:cubicBezTo>
                  <a:cubicBezTo>
                    <a:pt x="2535" y="691"/>
                    <a:pt x="2575" y="665"/>
                    <a:pt x="2618" y="669"/>
                  </a:cubicBezTo>
                  <a:cubicBezTo>
                    <a:pt x="2660" y="674"/>
                    <a:pt x="2774" y="649"/>
                    <a:pt x="2790" y="627"/>
                  </a:cubicBezTo>
                  <a:cubicBezTo>
                    <a:pt x="2806" y="605"/>
                    <a:pt x="2814" y="568"/>
                    <a:pt x="2789" y="569"/>
                  </a:cubicBezTo>
                  <a:close/>
                  <a:moveTo>
                    <a:pt x="2165" y="908"/>
                  </a:moveTo>
                  <a:cubicBezTo>
                    <a:pt x="2184" y="915"/>
                    <a:pt x="2184" y="915"/>
                    <a:pt x="2184" y="915"/>
                  </a:cubicBezTo>
                  <a:cubicBezTo>
                    <a:pt x="2195" y="936"/>
                    <a:pt x="2195" y="936"/>
                    <a:pt x="2195" y="936"/>
                  </a:cubicBezTo>
                  <a:cubicBezTo>
                    <a:pt x="2182" y="947"/>
                    <a:pt x="2182" y="947"/>
                    <a:pt x="2182" y="947"/>
                  </a:cubicBezTo>
                  <a:cubicBezTo>
                    <a:pt x="2182" y="947"/>
                    <a:pt x="2190" y="959"/>
                    <a:pt x="2190" y="967"/>
                  </a:cubicBezTo>
                  <a:cubicBezTo>
                    <a:pt x="2190" y="975"/>
                    <a:pt x="2165" y="973"/>
                    <a:pt x="2163" y="983"/>
                  </a:cubicBezTo>
                  <a:cubicBezTo>
                    <a:pt x="2162" y="992"/>
                    <a:pt x="2178" y="1005"/>
                    <a:pt x="2187" y="1009"/>
                  </a:cubicBezTo>
                  <a:cubicBezTo>
                    <a:pt x="2196" y="1014"/>
                    <a:pt x="2199" y="1033"/>
                    <a:pt x="2199" y="1033"/>
                  </a:cubicBezTo>
                  <a:cubicBezTo>
                    <a:pt x="2210" y="1014"/>
                    <a:pt x="2210" y="1014"/>
                    <a:pt x="2210" y="1014"/>
                  </a:cubicBezTo>
                  <a:cubicBezTo>
                    <a:pt x="2217" y="1033"/>
                    <a:pt x="2217" y="1033"/>
                    <a:pt x="2217" y="1033"/>
                  </a:cubicBezTo>
                  <a:cubicBezTo>
                    <a:pt x="2235" y="1035"/>
                    <a:pt x="2235" y="1035"/>
                    <a:pt x="2235" y="1035"/>
                  </a:cubicBezTo>
                  <a:cubicBezTo>
                    <a:pt x="2231" y="1050"/>
                    <a:pt x="2231" y="1050"/>
                    <a:pt x="2231" y="1050"/>
                  </a:cubicBezTo>
                  <a:cubicBezTo>
                    <a:pt x="2245" y="1049"/>
                    <a:pt x="2245" y="1049"/>
                    <a:pt x="2245" y="1049"/>
                  </a:cubicBezTo>
                  <a:cubicBezTo>
                    <a:pt x="2246" y="1064"/>
                    <a:pt x="2246" y="1064"/>
                    <a:pt x="2246" y="1064"/>
                  </a:cubicBezTo>
                  <a:cubicBezTo>
                    <a:pt x="2265" y="1064"/>
                    <a:pt x="2265" y="1064"/>
                    <a:pt x="2265" y="1064"/>
                  </a:cubicBezTo>
                  <a:cubicBezTo>
                    <a:pt x="2243" y="1028"/>
                    <a:pt x="2262" y="923"/>
                    <a:pt x="2262" y="923"/>
                  </a:cubicBezTo>
                  <a:cubicBezTo>
                    <a:pt x="2257" y="909"/>
                    <a:pt x="2257" y="909"/>
                    <a:pt x="2257" y="909"/>
                  </a:cubicBezTo>
                  <a:cubicBezTo>
                    <a:pt x="2290" y="864"/>
                    <a:pt x="2290" y="864"/>
                    <a:pt x="2290" y="864"/>
                  </a:cubicBezTo>
                  <a:cubicBezTo>
                    <a:pt x="2290" y="864"/>
                    <a:pt x="2300" y="862"/>
                    <a:pt x="2314" y="857"/>
                  </a:cubicBezTo>
                  <a:cubicBezTo>
                    <a:pt x="2328" y="853"/>
                    <a:pt x="2308" y="836"/>
                    <a:pt x="2308" y="836"/>
                  </a:cubicBezTo>
                  <a:cubicBezTo>
                    <a:pt x="2308" y="836"/>
                    <a:pt x="2325" y="843"/>
                    <a:pt x="2331" y="843"/>
                  </a:cubicBezTo>
                  <a:cubicBezTo>
                    <a:pt x="2337" y="843"/>
                    <a:pt x="2328" y="826"/>
                    <a:pt x="2328" y="826"/>
                  </a:cubicBezTo>
                  <a:cubicBezTo>
                    <a:pt x="2328" y="826"/>
                    <a:pt x="2356" y="820"/>
                    <a:pt x="2356" y="815"/>
                  </a:cubicBezTo>
                  <a:cubicBezTo>
                    <a:pt x="2356" y="810"/>
                    <a:pt x="2328" y="784"/>
                    <a:pt x="2328" y="784"/>
                  </a:cubicBezTo>
                  <a:cubicBezTo>
                    <a:pt x="2309" y="771"/>
                    <a:pt x="2309" y="771"/>
                    <a:pt x="2309" y="771"/>
                  </a:cubicBezTo>
                  <a:cubicBezTo>
                    <a:pt x="2309" y="771"/>
                    <a:pt x="2282" y="767"/>
                    <a:pt x="2272" y="768"/>
                  </a:cubicBezTo>
                  <a:cubicBezTo>
                    <a:pt x="2261" y="770"/>
                    <a:pt x="2270" y="785"/>
                    <a:pt x="2259" y="793"/>
                  </a:cubicBezTo>
                  <a:cubicBezTo>
                    <a:pt x="2248" y="801"/>
                    <a:pt x="2220" y="795"/>
                    <a:pt x="2220" y="795"/>
                  </a:cubicBezTo>
                  <a:cubicBezTo>
                    <a:pt x="2235" y="814"/>
                    <a:pt x="2235" y="814"/>
                    <a:pt x="2235" y="814"/>
                  </a:cubicBezTo>
                  <a:cubicBezTo>
                    <a:pt x="2235" y="814"/>
                    <a:pt x="2196" y="856"/>
                    <a:pt x="2185" y="856"/>
                  </a:cubicBezTo>
                  <a:cubicBezTo>
                    <a:pt x="2174" y="856"/>
                    <a:pt x="2182" y="842"/>
                    <a:pt x="2178" y="839"/>
                  </a:cubicBezTo>
                  <a:cubicBezTo>
                    <a:pt x="2173" y="836"/>
                    <a:pt x="2148" y="870"/>
                    <a:pt x="2143" y="890"/>
                  </a:cubicBezTo>
                  <a:cubicBezTo>
                    <a:pt x="2138" y="911"/>
                    <a:pt x="2165" y="908"/>
                    <a:pt x="2165" y="908"/>
                  </a:cubicBezTo>
                  <a:close/>
                  <a:moveTo>
                    <a:pt x="2560" y="83"/>
                  </a:moveTo>
                  <a:cubicBezTo>
                    <a:pt x="2583" y="98"/>
                    <a:pt x="2583" y="98"/>
                    <a:pt x="2583" y="98"/>
                  </a:cubicBezTo>
                  <a:cubicBezTo>
                    <a:pt x="2588" y="71"/>
                    <a:pt x="2588" y="71"/>
                    <a:pt x="2588" y="71"/>
                  </a:cubicBezTo>
                  <a:cubicBezTo>
                    <a:pt x="2601" y="77"/>
                    <a:pt x="2601" y="77"/>
                    <a:pt x="2601" y="77"/>
                  </a:cubicBezTo>
                  <a:cubicBezTo>
                    <a:pt x="2618" y="71"/>
                    <a:pt x="2618" y="71"/>
                    <a:pt x="2618" y="71"/>
                  </a:cubicBezTo>
                  <a:cubicBezTo>
                    <a:pt x="2618" y="71"/>
                    <a:pt x="2633" y="85"/>
                    <a:pt x="2638" y="76"/>
                  </a:cubicBezTo>
                  <a:cubicBezTo>
                    <a:pt x="2643" y="66"/>
                    <a:pt x="2638" y="44"/>
                    <a:pt x="2638" y="44"/>
                  </a:cubicBezTo>
                  <a:cubicBezTo>
                    <a:pt x="2638" y="44"/>
                    <a:pt x="2674" y="47"/>
                    <a:pt x="2649" y="36"/>
                  </a:cubicBezTo>
                  <a:cubicBezTo>
                    <a:pt x="2624" y="25"/>
                    <a:pt x="2621" y="29"/>
                    <a:pt x="2616" y="35"/>
                  </a:cubicBezTo>
                  <a:cubicBezTo>
                    <a:pt x="2612" y="41"/>
                    <a:pt x="2613" y="51"/>
                    <a:pt x="2613" y="51"/>
                  </a:cubicBezTo>
                  <a:cubicBezTo>
                    <a:pt x="2583" y="44"/>
                    <a:pt x="2583" y="44"/>
                    <a:pt x="2583" y="44"/>
                  </a:cubicBezTo>
                  <a:cubicBezTo>
                    <a:pt x="2583" y="44"/>
                    <a:pt x="2583" y="58"/>
                    <a:pt x="2577" y="55"/>
                  </a:cubicBezTo>
                  <a:cubicBezTo>
                    <a:pt x="2571" y="52"/>
                    <a:pt x="2549" y="46"/>
                    <a:pt x="2549" y="46"/>
                  </a:cubicBezTo>
                  <a:cubicBezTo>
                    <a:pt x="2547" y="63"/>
                    <a:pt x="2547" y="63"/>
                    <a:pt x="2547" y="63"/>
                  </a:cubicBezTo>
                  <a:cubicBezTo>
                    <a:pt x="2563" y="63"/>
                    <a:pt x="2563" y="63"/>
                    <a:pt x="2563" y="63"/>
                  </a:cubicBezTo>
                  <a:lnTo>
                    <a:pt x="2560" y="83"/>
                  </a:lnTo>
                  <a:close/>
                  <a:moveTo>
                    <a:pt x="2867" y="46"/>
                  </a:moveTo>
                  <a:cubicBezTo>
                    <a:pt x="2863" y="49"/>
                    <a:pt x="2886" y="74"/>
                    <a:pt x="2890" y="62"/>
                  </a:cubicBezTo>
                  <a:cubicBezTo>
                    <a:pt x="2895" y="49"/>
                    <a:pt x="2884" y="29"/>
                    <a:pt x="2867" y="46"/>
                  </a:cubicBezTo>
                  <a:close/>
                  <a:moveTo>
                    <a:pt x="2864" y="130"/>
                  </a:moveTo>
                  <a:cubicBezTo>
                    <a:pt x="2864" y="130"/>
                    <a:pt x="2856" y="121"/>
                    <a:pt x="2845" y="130"/>
                  </a:cubicBezTo>
                  <a:cubicBezTo>
                    <a:pt x="2834" y="140"/>
                    <a:pt x="2832" y="151"/>
                    <a:pt x="2843" y="162"/>
                  </a:cubicBezTo>
                  <a:cubicBezTo>
                    <a:pt x="2861" y="180"/>
                    <a:pt x="2890" y="159"/>
                    <a:pt x="2890" y="148"/>
                  </a:cubicBezTo>
                  <a:cubicBezTo>
                    <a:pt x="2890" y="137"/>
                    <a:pt x="2886" y="113"/>
                    <a:pt x="2886" y="113"/>
                  </a:cubicBezTo>
                  <a:lnTo>
                    <a:pt x="2864" y="130"/>
                  </a:lnTo>
                  <a:close/>
                  <a:moveTo>
                    <a:pt x="2745" y="212"/>
                  </a:moveTo>
                  <a:cubicBezTo>
                    <a:pt x="2757" y="218"/>
                    <a:pt x="2756" y="198"/>
                    <a:pt x="2756" y="198"/>
                  </a:cubicBezTo>
                  <a:cubicBezTo>
                    <a:pt x="2720" y="195"/>
                    <a:pt x="2732" y="206"/>
                    <a:pt x="2745" y="212"/>
                  </a:cubicBezTo>
                  <a:close/>
                  <a:moveTo>
                    <a:pt x="1289" y="1024"/>
                  </a:moveTo>
                  <a:cubicBezTo>
                    <a:pt x="1289" y="1024"/>
                    <a:pt x="1280" y="1047"/>
                    <a:pt x="1295" y="1039"/>
                  </a:cubicBezTo>
                  <a:cubicBezTo>
                    <a:pt x="1311" y="1031"/>
                    <a:pt x="1306" y="1005"/>
                    <a:pt x="1289" y="1024"/>
                  </a:cubicBezTo>
                  <a:close/>
                  <a:moveTo>
                    <a:pt x="126" y="1119"/>
                  </a:moveTo>
                  <a:cubicBezTo>
                    <a:pt x="126" y="1112"/>
                    <a:pt x="110" y="1092"/>
                    <a:pt x="110" y="1092"/>
                  </a:cubicBezTo>
                  <a:cubicBezTo>
                    <a:pt x="110" y="1092"/>
                    <a:pt x="103" y="1112"/>
                    <a:pt x="94" y="1115"/>
                  </a:cubicBezTo>
                  <a:cubicBezTo>
                    <a:pt x="85" y="1118"/>
                    <a:pt x="55" y="1067"/>
                    <a:pt x="55" y="1067"/>
                  </a:cubicBezTo>
                  <a:cubicBezTo>
                    <a:pt x="55" y="1067"/>
                    <a:pt x="35" y="1074"/>
                    <a:pt x="27" y="1077"/>
                  </a:cubicBezTo>
                  <a:cubicBezTo>
                    <a:pt x="19" y="1080"/>
                    <a:pt x="0" y="1072"/>
                    <a:pt x="0" y="1072"/>
                  </a:cubicBezTo>
                  <a:cubicBezTo>
                    <a:pt x="89" y="1220"/>
                    <a:pt x="89" y="1220"/>
                    <a:pt x="89" y="1220"/>
                  </a:cubicBezTo>
                  <a:cubicBezTo>
                    <a:pt x="141" y="1197"/>
                    <a:pt x="141" y="1197"/>
                    <a:pt x="141" y="1197"/>
                  </a:cubicBezTo>
                  <a:cubicBezTo>
                    <a:pt x="141" y="1197"/>
                    <a:pt x="125" y="1154"/>
                    <a:pt x="120" y="1150"/>
                  </a:cubicBezTo>
                  <a:cubicBezTo>
                    <a:pt x="114" y="1145"/>
                    <a:pt x="126" y="1126"/>
                    <a:pt x="126" y="1119"/>
                  </a:cubicBezTo>
                  <a:close/>
                  <a:moveTo>
                    <a:pt x="1952" y="1072"/>
                  </a:moveTo>
                  <a:cubicBezTo>
                    <a:pt x="1974" y="1072"/>
                    <a:pt x="1974" y="1072"/>
                    <a:pt x="1974" y="1072"/>
                  </a:cubicBezTo>
                  <a:cubicBezTo>
                    <a:pt x="1974" y="1072"/>
                    <a:pt x="1972" y="1019"/>
                    <a:pt x="1957" y="1017"/>
                  </a:cubicBezTo>
                  <a:cubicBezTo>
                    <a:pt x="1941" y="1016"/>
                    <a:pt x="1870" y="1025"/>
                    <a:pt x="1910" y="1072"/>
                  </a:cubicBezTo>
                  <a:cubicBezTo>
                    <a:pt x="1928" y="1094"/>
                    <a:pt x="1952" y="1072"/>
                    <a:pt x="1952" y="1072"/>
                  </a:cubicBezTo>
                  <a:close/>
                  <a:moveTo>
                    <a:pt x="2317" y="1185"/>
                  </a:moveTo>
                  <a:cubicBezTo>
                    <a:pt x="2326" y="1171"/>
                    <a:pt x="2326" y="1171"/>
                    <a:pt x="2326" y="1171"/>
                  </a:cubicBezTo>
                  <a:cubicBezTo>
                    <a:pt x="2326" y="1171"/>
                    <a:pt x="2306" y="1154"/>
                    <a:pt x="2306" y="1143"/>
                  </a:cubicBezTo>
                  <a:cubicBezTo>
                    <a:pt x="2306" y="1132"/>
                    <a:pt x="2293" y="1103"/>
                    <a:pt x="2293" y="1103"/>
                  </a:cubicBezTo>
                  <a:cubicBezTo>
                    <a:pt x="2290" y="1116"/>
                    <a:pt x="2290" y="1116"/>
                    <a:pt x="2290" y="1116"/>
                  </a:cubicBezTo>
                  <a:cubicBezTo>
                    <a:pt x="2279" y="1113"/>
                    <a:pt x="2279" y="1113"/>
                    <a:pt x="2279" y="1113"/>
                  </a:cubicBezTo>
                  <a:cubicBezTo>
                    <a:pt x="2275" y="1150"/>
                    <a:pt x="2275" y="1150"/>
                    <a:pt x="2275" y="1150"/>
                  </a:cubicBezTo>
                  <a:cubicBezTo>
                    <a:pt x="2293" y="1165"/>
                    <a:pt x="2293" y="1165"/>
                    <a:pt x="2293" y="1165"/>
                  </a:cubicBezTo>
                  <a:cubicBezTo>
                    <a:pt x="2292" y="1185"/>
                    <a:pt x="2292" y="1185"/>
                    <a:pt x="2292" y="1185"/>
                  </a:cubicBezTo>
                  <a:cubicBezTo>
                    <a:pt x="2293" y="1182"/>
                    <a:pt x="2296" y="1176"/>
                    <a:pt x="2317" y="1185"/>
                  </a:cubicBezTo>
                  <a:close/>
                  <a:moveTo>
                    <a:pt x="2436" y="1276"/>
                  </a:moveTo>
                  <a:cubicBezTo>
                    <a:pt x="2430" y="1265"/>
                    <a:pt x="2424" y="1254"/>
                    <a:pt x="2421" y="1248"/>
                  </a:cubicBezTo>
                  <a:cubicBezTo>
                    <a:pt x="2412" y="1234"/>
                    <a:pt x="2371" y="1212"/>
                    <a:pt x="2355" y="1206"/>
                  </a:cubicBezTo>
                  <a:cubicBezTo>
                    <a:pt x="2339" y="1200"/>
                    <a:pt x="2337" y="1184"/>
                    <a:pt x="2337" y="1184"/>
                  </a:cubicBezTo>
                  <a:cubicBezTo>
                    <a:pt x="2337" y="1184"/>
                    <a:pt x="2324" y="1191"/>
                    <a:pt x="2318" y="1195"/>
                  </a:cubicBezTo>
                  <a:cubicBezTo>
                    <a:pt x="2313" y="1198"/>
                    <a:pt x="2304" y="1192"/>
                    <a:pt x="2304" y="1192"/>
                  </a:cubicBezTo>
                  <a:cubicBezTo>
                    <a:pt x="2304" y="1192"/>
                    <a:pt x="2301" y="1217"/>
                    <a:pt x="2301" y="1229"/>
                  </a:cubicBezTo>
                  <a:cubicBezTo>
                    <a:pt x="2301" y="1240"/>
                    <a:pt x="2304" y="1246"/>
                    <a:pt x="2301" y="1257"/>
                  </a:cubicBezTo>
                  <a:cubicBezTo>
                    <a:pt x="2299" y="1269"/>
                    <a:pt x="2278" y="1281"/>
                    <a:pt x="2275" y="1281"/>
                  </a:cubicBezTo>
                  <a:cubicBezTo>
                    <a:pt x="2272" y="1282"/>
                    <a:pt x="2260" y="1275"/>
                    <a:pt x="2255" y="1275"/>
                  </a:cubicBezTo>
                  <a:cubicBezTo>
                    <a:pt x="2250" y="1275"/>
                    <a:pt x="2242" y="1291"/>
                    <a:pt x="2242" y="1291"/>
                  </a:cubicBezTo>
                  <a:cubicBezTo>
                    <a:pt x="2242" y="1291"/>
                    <a:pt x="2227" y="1277"/>
                    <a:pt x="2229" y="1273"/>
                  </a:cubicBezTo>
                  <a:cubicBezTo>
                    <a:pt x="2230" y="1268"/>
                    <a:pt x="2244" y="1263"/>
                    <a:pt x="2247" y="1260"/>
                  </a:cubicBezTo>
                  <a:cubicBezTo>
                    <a:pt x="2249" y="1256"/>
                    <a:pt x="2239" y="1253"/>
                    <a:pt x="2239" y="1253"/>
                  </a:cubicBezTo>
                  <a:cubicBezTo>
                    <a:pt x="2239" y="1253"/>
                    <a:pt x="2246" y="1236"/>
                    <a:pt x="2234" y="1232"/>
                  </a:cubicBezTo>
                  <a:cubicBezTo>
                    <a:pt x="2222" y="1227"/>
                    <a:pt x="2204" y="1237"/>
                    <a:pt x="2191" y="1238"/>
                  </a:cubicBezTo>
                  <a:cubicBezTo>
                    <a:pt x="2178" y="1238"/>
                    <a:pt x="2169" y="1246"/>
                    <a:pt x="2162" y="1247"/>
                  </a:cubicBezTo>
                  <a:cubicBezTo>
                    <a:pt x="2156" y="1247"/>
                    <a:pt x="2137" y="1223"/>
                    <a:pt x="2130" y="1219"/>
                  </a:cubicBezTo>
                  <a:cubicBezTo>
                    <a:pt x="2123" y="1215"/>
                    <a:pt x="2099" y="1217"/>
                    <a:pt x="2090" y="1218"/>
                  </a:cubicBezTo>
                  <a:cubicBezTo>
                    <a:pt x="2080" y="1218"/>
                    <a:pt x="2080" y="1234"/>
                    <a:pt x="2068" y="1234"/>
                  </a:cubicBezTo>
                  <a:cubicBezTo>
                    <a:pt x="2056" y="1235"/>
                    <a:pt x="2022" y="1205"/>
                    <a:pt x="2022" y="1205"/>
                  </a:cubicBezTo>
                  <a:cubicBezTo>
                    <a:pt x="2022" y="1205"/>
                    <a:pt x="2022" y="1199"/>
                    <a:pt x="2028" y="1196"/>
                  </a:cubicBezTo>
                  <a:cubicBezTo>
                    <a:pt x="2033" y="1193"/>
                    <a:pt x="2052" y="1201"/>
                    <a:pt x="2052" y="1201"/>
                  </a:cubicBezTo>
                  <a:cubicBezTo>
                    <a:pt x="2052" y="1201"/>
                    <a:pt x="2056" y="1185"/>
                    <a:pt x="2055" y="1177"/>
                  </a:cubicBezTo>
                  <a:cubicBezTo>
                    <a:pt x="2055" y="1168"/>
                    <a:pt x="2095" y="1164"/>
                    <a:pt x="2095" y="1164"/>
                  </a:cubicBezTo>
                  <a:cubicBezTo>
                    <a:pt x="2095" y="1164"/>
                    <a:pt x="2076" y="1151"/>
                    <a:pt x="2069" y="1149"/>
                  </a:cubicBezTo>
                  <a:cubicBezTo>
                    <a:pt x="2062" y="1148"/>
                    <a:pt x="2018" y="1154"/>
                    <a:pt x="2017" y="1155"/>
                  </a:cubicBezTo>
                  <a:cubicBezTo>
                    <a:pt x="2017" y="1157"/>
                    <a:pt x="2005" y="1178"/>
                    <a:pt x="1998" y="1175"/>
                  </a:cubicBezTo>
                  <a:cubicBezTo>
                    <a:pt x="1991" y="1172"/>
                    <a:pt x="2001" y="1165"/>
                    <a:pt x="1999" y="1157"/>
                  </a:cubicBezTo>
                  <a:cubicBezTo>
                    <a:pt x="1997" y="1149"/>
                    <a:pt x="1972" y="1157"/>
                    <a:pt x="1972" y="1157"/>
                  </a:cubicBezTo>
                  <a:cubicBezTo>
                    <a:pt x="1960" y="1143"/>
                    <a:pt x="1960" y="1143"/>
                    <a:pt x="1960" y="1143"/>
                  </a:cubicBezTo>
                  <a:cubicBezTo>
                    <a:pt x="1960" y="1143"/>
                    <a:pt x="1944" y="1148"/>
                    <a:pt x="1943" y="1149"/>
                  </a:cubicBezTo>
                  <a:cubicBezTo>
                    <a:pt x="1941" y="1149"/>
                    <a:pt x="1869" y="1157"/>
                    <a:pt x="1869" y="1157"/>
                  </a:cubicBezTo>
                  <a:cubicBezTo>
                    <a:pt x="1859" y="1146"/>
                    <a:pt x="1859" y="1146"/>
                    <a:pt x="1859" y="1146"/>
                  </a:cubicBezTo>
                  <a:cubicBezTo>
                    <a:pt x="1849" y="1165"/>
                    <a:pt x="1849" y="1165"/>
                    <a:pt x="1849" y="1165"/>
                  </a:cubicBezTo>
                  <a:cubicBezTo>
                    <a:pt x="1830" y="1150"/>
                    <a:pt x="1830" y="1150"/>
                    <a:pt x="1830" y="1150"/>
                  </a:cubicBezTo>
                  <a:cubicBezTo>
                    <a:pt x="1813" y="1149"/>
                    <a:pt x="1813" y="1149"/>
                    <a:pt x="1813" y="1149"/>
                  </a:cubicBezTo>
                  <a:cubicBezTo>
                    <a:pt x="1813" y="1149"/>
                    <a:pt x="1783" y="1200"/>
                    <a:pt x="1767" y="1201"/>
                  </a:cubicBezTo>
                  <a:cubicBezTo>
                    <a:pt x="1752" y="1201"/>
                    <a:pt x="1719" y="1177"/>
                    <a:pt x="1713" y="1169"/>
                  </a:cubicBezTo>
                  <a:cubicBezTo>
                    <a:pt x="1707" y="1160"/>
                    <a:pt x="1717" y="1139"/>
                    <a:pt x="1721" y="1133"/>
                  </a:cubicBezTo>
                  <a:cubicBezTo>
                    <a:pt x="1725" y="1127"/>
                    <a:pt x="1715" y="1120"/>
                    <a:pt x="1711" y="1104"/>
                  </a:cubicBezTo>
                  <a:cubicBezTo>
                    <a:pt x="1707" y="1087"/>
                    <a:pt x="1750" y="1084"/>
                    <a:pt x="1750" y="1084"/>
                  </a:cubicBezTo>
                  <a:cubicBezTo>
                    <a:pt x="1750" y="1084"/>
                    <a:pt x="1785" y="1107"/>
                    <a:pt x="1793" y="1108"/>
                  </a:cubicBezTo>
                  <a:cubicBezTo>
                    <a:pt x="1801" y="1108"/>
                    <a:pt x="1799" y="1087"/>
                    <a:pt x="1799" y="1087"/>
                  </a:cubicBezTo>
                  <a:cubicBezTo>
                    <a:pt x="1799" y="1087"/>
                    <a:pt x="1804" y="1079"/>
                    <a:pt x="1806" y="1068"/>
                  </a:cubicBezTo>
                  <a:cubicBezTo>
                    <a:pt x="1807" y="1057"/>
                    <a:pt x="1798" y="1055"/>
                    <a:pt x="1798" y="1055"/>
                  </a:cubicBezTo>
                  <a:cubicBezTo>
                    <a:pt x="1798" y="1055"/>
                    <a:pt x="1804" y="1039"/>
                    <a:pt x="1801" y="1021"/>
                  </a:cubicBezTo>
                  <a:cubicBezTo>
                    <a:pt x="1798" y="1003"/>
                    <a:pt x="1763" y="994"/>
                    <a:pt x="1757" y="993"/>
                  </a:cubicBezTo>
                  <a:cubicBezTo>
                    <a:pt x="1751" y="991"/>
                    <a:pt x="1756" y="986"/>
                    <a:pt x="1756" y="978"/>
                  </a:cubicBezTo>
                  <a:cubicBezTo>
                    <a:pt x="1756" y="971"/>
                    <a:pt x="1745" y="966"/>
                    <a:pt x="1745" y="966"/>
                  </a:cubicBezTo>
                  <a:cubicBezTo>
                    <a:pt x="1745" y="966"/>
                    <a:pt x="1740" y="975"/>
                    <a:pt x="1741" y="977"/>
                  </a:cubicBezTo>
                  <a:cubicBezTo>
                    <a:pt x="1743" y="979"/>
                    <a:pt x="1745" y="985"/>
                    <a:pt x="1745" y="985"/>
                  </a:cubicBezTo>
                  <a:cubicBezTo>
                    <a:pt x="1745" y="985"/>
                    <a:pt x="1745" y="1007"/>
                    <a:pt x="1746" y="1019"/>
                  </a:cubicBezTo>
                  <a:cubicBezTo>
                    <a:pt x="1747" y="1031"/>
                    <a:pt x="1737" y="1034"/>
                    <a:pt x="1719" y="1051"/>
                  </a:cubicBezTo>
                  <a:cubicBezTo>
                    <a:pt x="1701" y="1069"/>
                    <a:pt x="1674" y="1084"/>
                    <a:pt x="1674" y="1084"/>
                  </a:cubicBezTo>
                  <a:cubicBezTo>
                    <a:pt x="1674" y="1084"/>
                    <a:pt x="1671" y="1118"/>
                    <a:pt x="1671" y="1130"/>
                  </a:cubicBezTo>
                  <a:cubicBezTo>
                    <a:pt x="1671" y="1142"/>
                    <a:pt x="1633" y="1162"/>
                    <a:pt x="1629" y="1167"/>
                  </a:cubicBezTo>
                  <a:cubicBezTo>
                    <a:pt x="1624" y="1173"/>
                    <a:pt x="1601" y="1194"/>
                    <a:pt x="1601" y="1194"/>
                  </a:cubicBezTo>
                  <a:cubicBezTo>
                    <a:pt x="1612" y="1173"/>
                    <a:pt x="1593" y="1168"/>
                    <a:pt x="1593" y="1168"/>
                  </a:cubicBezTo>
                  <a:cubicBezTo>
                    <a:pt x="1593" y="1168"/>
                    <a:pt x="1603" y="1156"/>
                    <a:pt x="1606" y="1146"/>
                  </a:cubicBezTo>
                  <a:cubicBezTo>
                    <a:pt x="1609" y="1137"/>
                    <a:pt x="1603" y="1136"/>
                    <a:pt x="1591" y="1131"/>
                  </a:cubicBezTo>
                  <a:cubicBezTo>
                    <a:pt x="1579" y="1126"/>
                    <a:pt x="1585" y="1106"/>
                    <a:pt x="1572" y="1102"/>
                  </a:cubicBezTo>
                  <a:cubicBezTo>
                    <a:pt x="1560" y="1098"/>
                    <a:pt x="1537" y="1118"/>
                    <a:pt x="1529" y="1118"/>
                  </a:cubicBezTo>
                  <a:cubicBezTo>
                    <a:pt x="1522" y="1118"/>
                    <a:pt x="1505" y="1112"/>
                    <a:pt x="1495" y="1109"/>
                  </a:cubicBezTo>
                  <a:cubicBezTo>
                    <a:pt x="1486" y="1106"/>
                    <a:pt x="1473" y="1118"/>
                    <a:pt x="1473" y="1118"/>
                  </a:cubicBezTo>
                  <a:cubicBezTo>
                    <a:pt x="1473" y="1118"/>
                    <a:pt x="1446" y="1113"/>
                    <a:pt x="1434" y="1114"/>
                  </a:cubicBezTo>
                  <a:cubicBezTo>
                    <a:pt x="1422" y="1115"/>
                    <a:pt x="1422" y="1166"/>
                    <a:pt x="1419" y="1179"/>
                  </a:cubicBezTo>
                  <a:cubicBezTo>
                    <a:pt x="1417" y="1192"/>
                    <a:pt x="1398" y="1204"/>
                    <a:pt x="1398" y="1204"/>
                  </a:cubicBezTo>
                  <a:cubicBezTo>
                    <a:pt x="1371" y="1180"/>
                    <a:pt x="1371" y="1180"/>
                    <a:pt x="1371" y="1180"/>
                  </a:cubicBezTo>
                  <a:cubicBezTo>
                    <a:pt x="1371" y="1180"/>
                    <a:pt x="1368" y="1159"/>
                    <a:pt x="1366" y="1152"/>
                  </a:cubicBezTo>
                  <a:cubicBezTo>
                    <a:pt x="1363" y="1145"/>
                    <a:pt x="1340" y="1134"/>
                    <a:pt x="1340" y="1134"/>
                  </a:cubicBezTo>
                  <a:cubicBezTo>
                    <a:pt x="1353" y="1127"/>
                    <a:pt x="1353" y="1127"/>
                    <a:pt x="1353" y="1127"/>
                  </a:cubicBezTo>
                  <a:cubicBezTo>
                    <a:pt x="1342" y="1114"/>
                    <a:pt x="1342" y="1114"/>
                    <a:pt x="1342" y="1114"/>
                  </a:cubicBezTo>
                  <a:cubicBezTo>
                    <a:pt x="1342" y="1114"/>
                    <a:pt x="1346" y="1107"/>
                    <a:pt x="1349" y="1095"/>
                  </a:cubicBezTo>
                  <a:cubicBezTo>
                    <a:pt x="1352" y="1083"/>
                    <a:pt x="1340" y="1067"/>
                    <a:pt x="1333" y="1065"/>
                  </a:cubicBezTo>
                  <a:cubicBezTo>
                    <a:pt x="1327" y="1062"/>
                    <a:pt x="1319" y="1073"/>
                    <a:pt x="1317" y="1075"/>
                  </a:cubicBezTo>
                  <a:cubicBezTo>
                    <a:pt x="1314" y="1077"/>
                    <a:pt x="1304" y="1066"/>
                    <a:pt x="1304" y="1066"/>
                  </a:cubicBezTo>
                  <a:cubicBezTo>
                    <a:pt x="1304" y="1066"/>
                    <a:pt x="1299" y="1072"/>
                    <a:pt x="1293" y="1080"/>
                  </a:cubicBezTo>
                  <a:cubicBezTo>
                    <a:pt x="1287" y="1088"/>
                    <a:pt x="1293" y="1102"/>
                    <a:pt x="1283" y="1122"/>
                  </a:cubicBezTo>
                  <a:cubicBezTo>
                    <a:pt x="1273" y="1143"/>
                    <a:pt x="1307" y="1141"/>
                    <a:pt x="1309" y="1147"/>
                  </a:cubicBezTo>
                  <a:cubicBezTo>
                    <a:pt x="1311" y="1153"/>
                    <a:pt x="1306" y="1178"/>
                    <a:pt x="1279" y="1183"/>
                  </a:cubicBezTo>
                  <a:cubicBezTo>
                    <a:pt x="1253" y="1188"/>
                    <a:pt x="1234" y="1139"/>
                    <a:pt x="1233" y="1133"/>
                  </a:cubicBezTo>
                  <a:cubicBezTo>
                    <a:pt x="1232" y="1128"/>
                    <a:pt x="1236" y="1104"/>
                    <a:pt x="1238" y="1092"/>
                  </a:cubicBezTo>
                  <a:cubicBezTo>
                    <a:pt x="1240" y="1080"/>
                    <a:pt x="1223" y="1071"/>
                    <a:pt x="1220" y="1056"/>
                  </a:cubicBezTo>
                  <a:cubicBezTo>
                    <a:pt x="1217" y="1040"/>
                    <a:pt x="1246" y="1030"/>
                    <a:pt x="1254" y="1021"/>
                  </a:cubicBezTo>
                  <a:cubicBezTo>
                    <a:pt x="1263" y="1013"/>
                    <a:pt x="1268" y="983"/>
                    <a:pt x="1274" y="977"/>
                  </a:cubicBezTo>
                  <a:cubicBezTo>
                    <a:pt x="1280" y="971"/>
                    <a:pt x="1310" y="962"/>
                    <a:pt x="1322" y="945"/>
                  </a:cubicBezTo>
                  <a:cubicBezTo>
                    <a:pt x="1334" y="927"/>
                    <a:pt x="1309" y="885"/>
                    <a:pt x="1308" y="884"/>
                  </a:cubicBezTo>
                  <a:cubicBezTo>
                    <a:pt x="1308" y="883"/>
                    <a:pt x="1310" y="887"/>
                    <a:pt x="1325" y="884"/>
                  </a:cubicBezTo>
                  <a:cubicBezTo>
                    <a:pt x="1339" y="881"/>
                    <a:pt x="1318" y="850"/>
                    <a:pt x="1318" y="850"/>
                  </a:cubicBezTo>
                  <a:cubicBezTo>
                    <a:pt x="1323" y="823"/>
                    <a:pt x="1323" y="823"/>
                    <a:pt x="1323" y="823"/>
                  </a:cubicBezTo>
                  <a:cubicBezTo>
                    <a:pt x="1323" y="823"/>
                    <a:pt x="1331" y="819"/>
                    <a:pt x="1337" y="813"/>
                  </a:cubicBezTo>
                  <a:cubicBezTo>
                    <a:pt x="1343" y="808"/>
                    <a:pt x="1333" y="789"/>
                    <a:pt x="1333" y="789"/>
                  </a:cubicBezTo>
                  <a:cubicBezTo>
                    <a:pt x="1333" y="789"/>
                    <a:pt x="1346" y="805"/>
                    <a:pt x="1349" y="813"/>
                  </a:cubicBezTo>
                  <a:cubicBezTo>
                    <a:pt x="1353" y="820"/>
                    <a:pt x="1342" y="825"/>
                    <a:pt x="1342" y="826"/>
                  </a:cubicBezTo>
                  <a:cubicBezTo>
                    <a:pt x="1341" y="828"/>
                    <a:pt x="1342" y="848"/>
                    <a:pt x="1344" y="850"/>
                  </a:cubicBezTo>
                  <a:cubicBezTo>
                    <a:pt x="1345" y="852"/>
                    <a:pt x="1355" y="873"/>
                    <a:pt x="1359" y="880"/>
                  </a:cubicBezTo>
                  <a:cubicBezTo>
                    <a:pt x="1363" y="887"/>
                    <a:pt x="1357" y="896"/>
                    <a:pt x="1356" y="898"/>
                  </a:cubicBezTo>
                  <a:cubicBezTo>
                    <a:pt x="1356" y="900"/>
                    <a:pt x="1362" y="903"/>
                    <a:pt x="1368" y="910"/>
                  </a:cubicBezTo>
                  <a:cubicBezTo>
                    <a:pt x="1374" y="918"/>
                    <a:pt x="1375" y="940"/>
                    <a:pt x="1375" y="947"/>
                  </a:cubicBezTo>
                  <a:cubicBezTo>
                    <a:pt x="1375" y="955"/>
                    <a:pt x="1408" y="987"/>
                    <a:pt x="1411" y="993"/>
                  </a:cubicBezTo>
                  <a:cubicBezTo>
                    <a:pt x="1415" y="1000"/>
                    <a:pt x="1411" y="1004"/>
                    <a:pt x="1425" y="1033"/>
                  </a:cubicBezTo>
                  <a:cubicBezTo>
                    <a:pt x="1440" y="1063"/>
                    <a:pt x="1492" y="1069"/>
                    <a:pt x="1532" y="1068"/>
                  </a:cubicBezTo>
                  <a:cubicBezTo>
                    <a:pt x="1572" y="1067"/>
                    <a:pt x="1591" y="1032"/>
                    <a:pt x="1595" y="1030"/>
                  </a:cubicBezTo>
                  <a:cubicBezTo>
                    <a:pt x="1599" y="1028"/>
                    <a:pt x="1589" y="1018"/>
                    <a:pt x="1589" y="1018"/>
                  </a:cubicBezTo>
                  <a:cubicBezTo>
                    <a:pt x="1589" y="1018"/>
                    <a:pt x="1613" y="990"/>
                    <a:pt x="1616" y="985"/>
                  </a:cubicBezTo>
                  <a:cubicBezTo>
                    <a:pt x="1618" y="980"/>
                    <a:pt x="1607" y="975"/>
                    <a:pt x="1603" y="971"/>
                  </a:cubicBezTo>
                  <a:cubicBezTo>
                    <a:pt x="1599" y="968"/>
                    <a:pt x="1611" y="957"/>
                    <a:pt x="1611" y="957"/>
                  </a:cubicBezTo>
                  <a:cubicBezTo>
                    <a:pt x="1611" y="927"/>
                    <a:pt x="1611" y="927"/>
                    <a:pt x="1611" y="927"/>
                  </a:cubicBezTo>
                  <a:cubicBezTo>
                    <a:pt x="1600" y="927"/>
                    <a:pt x="1600" y="927"/>
                    <a:pt x="1600" y="927"/>
                  </a:cubicBezTo>
                  <a:cubicBezTo>
                    <a:pt x="1584" y="749"/>
                    <a:pt x="1584" y="749"/>
                    <a:pt x="1584" y="749"/>
                  </a:cubicBezTo>
                  <a:cubicBezTo>
                    <a:pt x="1584" y="749"/>
                    <a:pt x="1574" y="739"/>
                    <a:pt x="1558" y="730"/>
                  </a:cubicBezTo>
                  <a:cubicBezTo>
                    <a:pt x="1541" y="721"/>
                    <a:pt x="1546" y="696"/>
                    <a:pt x="1546" y="696"/>
                  </a:cubicBezTo>
                  <a:cubicBezTo>
                    <a:pt x="1546" y="696"/>
                    <a:pt x="1537" y="695"/>
                    <a:pt x="1531" y="693"/>
                  </a:cubicBezTo>
                  <a:cubicBezTo>
                    <a:pt x="1525" y="691"/>
                    <a:pt x="1517" y="661"/>
                    <a:pt x="1515" y="656"/>
                  </a:cubicBezTo>
                  <a:cubicBezTo>
                    <a:pt x="1513" y="650"/>
                    <a:pt x="1514" y="620"/>
                    <a:pt x="1517" y="620"/>
                  </a:cubicBezTo>
                  <a:cubicBezTo>
                    <a:pt x="1521" y="620"/>
                    <a:pt x="1535" y="649"/>
                    <a:pt x="1535" y="649"/>
                  </a:cubicBezTo>
                  <a:cubicBezTo>
                    <a:pt x="1535" y="649"/>
                    <a:pt x="1544" y="645"/>
                    <a:pt x="1551" y="641"/>
                  </a:cubicBezTo>
                  <a:cubicBezTo>
                    <a:pt x="1557" y="638"/>
                    <a:pt x="1542" y="627"/>
                    <a:pt x="1542" y="627"/>
                  </a:cubicBezTo>
                  <a:cubicBezTo>
                    <a:pt x="1535" y="603"/>
                    <a:pt x="1535" y="603"/>
                    <a:pt x="1535" y="603"/>
                  </a:cubicBezTo>
                  <a:cubicBezTo>
                    <a:pt x="1513" y="608"/>
                    <a:pt x="1513" y="608"/>
                    <a:pt x="1513" y="608"/>
                  </a:cubicBezTo>
                  <a:cubicBezTo>
                    <a:pt x="1503" y="595"/>
                    <a:pt x="1503" y="595"/>
                    <a:pt x="1503" y="595"/>
                  </a:cubicBezTo>
                  <a:cubicBezTo>
                    <a:pt x="1485" y="601"/>
                    <a:pt x="1485" y="601"/>
                    <a:pt x="1485" y="601"/>
                  </a:cubicBezTo>
                  <a:cubicBezTo>
                    <a:pt x="1485" y="601"/>
                    <a:pt x="1463" y="584"/>
                    <a:pt x="1443" y="575"/>
                  </a:cubicBezTo>
                  <a:cubicBezTo>
                    <a:pt x="1424" y="566"/>
                    <a:pt x="1413" y="584"/>
                    <a:pt x="1411" y="584"/>
                  </a:cubicBezTo>
                  <a:cubicBezTo>
                    <a:pt x="1408" y="584"/>
                    <a:pt x="1379" y="579"/>
                    <a:pt x="1379" y="579"/>
                  </a:cubicBezTo>
                  <a:cubicBezTo>
                    <a:pt x="1379" y="579"/>
                    <a:pt x="1377" y="592"/>
                    <a:pt x="1377" y="593"/>
                  </a:cubicBezTo>
                  <a:cubicBezTo>
                    <a:pt x="1377" y="595"/>
                    <a:pt x="1360" y="595"/>
                    <a:pt x="1359" y="596"/>
                  </a:cubicBezTo>
                  <a:cubicBezTo>
                    <a:pt x="1358" y="597"/>
                    <a:pt x="1338" y="616"/>
                    <a:pt x="1328" y="630"/>
                  </a:cubicBezTo>
                  <a:cubicBezTo>
                    <a:pt x="1318" y="644"/>
                    <a:pt x="1337" y="645"/>
                    <a:pt x="1337" y="656"/>
                  </a:cubicBezTo>
                  <a:cubicBezTo>
                    <a:pt x="1337" y="666"/>
                    <a:pt x="1327" y="668"/>
                    <a:pt x="1327" y="673"/>
                  </a:cubicBezTo>
                  <a:cubicBezTo>
                    <a:pt x="1326" y="678"/>
                    <a:pt x="1326" y="694"/>
                    <a:pt x="1317" y="702"/>
                  </a:cubicBezTo>
                  <a:cubicBezTo>
                    <a:pt x="1309" y="711"/>
                    <a:pt x="1276" y="714"/>
                    <a:pt x="1252" y="716"/>
                  </a:cubicBezTo>
                  <a:cubicBezTo>
                    <a:pt x="1228" y="717"/>
                    <a:pt x="1226" y="749"/>
                    <a:pt x="1226" y="749"/>
                  </a:cubicBezTo>
                  <a:cubicBezTo>
                    <a:pt x="1179" y="830"/>
                    <a:pt x="1179" y="830"/>
                    <a:pt x="1179" y="830"/>
                  </a:cubicBezTo>
                  <a:cubicBezTo>
                    <a:pt x="1179" y="830"/>
                    <a:pt x="1162" y="822"/>
                    <a:pt x="1156" y="826"/>
                  </a:cubicBezTo>
                  <a:cubicBezTo>
                    <a:pt x="1150" y="831"/>
                    <a:pt x="1122" y="856"/>
                    <a:pt x="1111" y="860"/>
                  </a:cubicBezTo>
                  <a:cubicBezTo>
                    <a:pt x="1100" y="864"/>
                    <a:pt x="1107" y="879"/>
                    <a:pt x="1106" y="892"/>
                  </a:cubicBezTo>
                  <a:cubicBezTo>
                    <a:pt x="1105" y="906"/>
                    <a:pt x="1084" y="900"/>
                    <a:pt x="1079" y="907"/>
                  </a:cubicBezTo>
                  <a:cubicBezTo>
                    <a:pt x="1074" y="914"/>
                    <a:pt x="1080" y="934"/>
                    <a:pt x="1078" y="943"/>
                  </a:cubicBezTo>
                  <a:cubicBezTo>
                    <a:pt x="1075" y="951"/>
                    <a:pt x="1032" y="953"/>
                    <a:pt x="1024" y="959"/>
                  </a:cubicBezTo>
                  <a:cubicBezTo>
                    <a:pt x="1017" y="965"/>
                    <a:pt x="1021" y="1035"/>
                    <a:pt x="1020" y="1049"/>
                  </a:cubicBezTo>
                  <a:cubicBezTo>
                    <a:pt x="1020" y="1063"/>
                    <a:pt x="979" y="1069"/>
                    <a:pt x="968" y="1073"/>
                  </a:cubicBezTo>
                  <a:cubicBezTo>
                    <a:pt x="957" y="1076"/>
                    <a:pt x="800" y="1081"/>
                    <a:pt x="800" y="1081"/>
                  </a:cubicBezTo>
                  <a:cubicBezTo>
                    <a:pt x="744" y="1080"/>
                    <a:pt x="744" y="1080"/>
                    <a:pt x="744" y="1080"/>
                  </a:cubicBezTo>
                  <a:cubicBezTo>
                    <a:pt x="768" y="1100"/>
                    <a:pt x="768" y="1100"/>
                    <a:pt x="768" y="1100"/>
                  </a:cubicBezTo>
                  <a:cubicBezTo>
                    <a:pt x="768" y="1100"/>
                    <a:pt x="752" y="1101"/>
                    <a:pt x="744" y="1106"/>
                  </a:cubicBezTo>
                  <a:cubicBezTo>
                    <a:pt x="737" y="1110"/>
                    <a:pt x="749" y="1121"/>
                    <a:pt x="749" y="1121"/>
                  </a:cubicBezTo>
                  <a:cubicBezTo>
                    <a:pt x="749" y="1121"/>
                    <a:pt x="736" y="1134"/>
                    <a:pt x="736" y="1138"/>
                  </a:cubicBezTo>
                  <a:cubicBezTo>
                    <a:pt x="736" y="1142"/>
                    <a:pt x="763" y="1166"/>
                    <a:pt x="763" y="1166"/>
                  </a:cubicBezTo>
                  <a:cubicBezTo>
                    <a:pt x="763" y="1166"/>
                    <a:pt x="748" y="1194"/>
                    <a:pt x="747" y="1195"/>
                  </a:cubicBezTo>
                  <a:cubicBezTo>
                    <a:pt x="746" y="1196"/>
                    <a:pt x="731" y="1156"/>
                    <a:pt x="731" y="1156"/>
                  </a:cubicBezTo>
                  <a:cubicBezTo>
                    <a:pt x="700" y="1154"/>
                    <a:pt x="700" y="1154"/>
                    <a:pt x="700" y="1154"/>
                  </a:cubicBezTo>
                  <a:cubicBezTo>
                    <a:pt x="670" y="1132"/>
                    <a:pt x="670" y="1132"/>
                    <a:pt x="670" y="1132"/>
                  </a:cubicBezTo>
                  <a:cubicBezTo>
                    <a:pt x="658" y="1142"/>
                    <a:pt x="658" y="1142"/>
                    <a:pt x="658" y="1142"/>
                  </a:cubicBezTo>
                  <a:cubicBezTo>
                    <a:pt x="640" y="1156"/>
                    <a:pt x="640" y="1156"/>
                    <a:pt x="640" y="1156"/>
                  </a:cubicBezTo>
                  <a:cubicBezTo>
                    <a:pt x="636" y="1161"/>
                    <a:pt x="593" y="1162"/>
                    <a:pt x="593" y="1162"/>
                  </a:cubicBezTo>
                  <a:cubicBezTo>
                    <a:pt x="593" y="1162"/>
                    <a:pt x="547" y="1198"/>
                    <a:pt x="547" y="1200"/>
                  </a:cubicBezTo>
                  <a:cubicBezTo>
                    <a:pt x="547" y="1202"/>
                    <a:pt x="538" y="1217"/>
                    <a:pt x="536" y="1225"/>
                  </a:cubicBezTo>
                  <a:cubicBezTo>
                    <a:pt x="534" y="1232"/>
                    <a:pt x="497" y="1236"/>
                    <a:pt x="497" y="1236"/>
                  </a:cubicBezTo>
                  <a:cubicBezTo>
                    <a:pt x="497" y="1236"/>
                    <a:pt x="481" y="1267"/>
                    <a:pt x="469" y="1278"/>
                  </a:cubicBezTo>
                  <a:cubicBezTo>
                    <a:pt x="458" y="1290"/>
                    <a:pt x="443" y="1301"/>
                    <a:pt x="444" y="1306"/>
                  </a:cubicBezTo>
                  <a:cubicBezTo>
                    <a:pt x="446" y="1311"/>
                    <a:pt x="425" y="1344"/>
                    <a:pt x="419" y="1352"/>
                  </a:cubicBezTo>
                  <a:cubicBezTo>
                    <a:pt x="412" y="1359"/>
                    <a:pt x="414" y="1384"/>
                    <a:pt x="414" y="1384"/>
                  </a:cubicBezTo>
                  <a:cubicBezTo>
                    <a:pt x="414" y="1384"/>
                    <a:pt x="433" y="1403"/>
                    <a:pt x="439" y="1410"/>
                  </a:cubicBezTo>
                  <a:cubicBezTo>
                    <a:pt x="446" y="1416"/>
                    <a:pt x="421" y="1437"/>
                    <a:pt x="421" y="1439"/>
                  </a:cubicBezTo>
                  <a:cubicBezTo>
                    <a:pt x="422" y="1442"/>
                    <a:pt x="450" y="1451"/>
                    <a:pt x="464" y="1468"/>
                  </a:cubicBezTo>
                  <a:cubicBezTo>
                    <a:pt x="471" y="1476"/>
                    <a:pt x="468" y="1487"/>
                    <a:pt x="464" y="1497"/>
                  </a:cubicBezTo>
                  <a:cubicBezTo>
                    <a:pt x="473" y="1497"/>
                    <a:pt x="483" y="1496"/>
                    <a:pt x="483" y="1496"/>
                  </a:cubicBezTo>
                  <a:cubicBezTo>
                    <a:pt x="498" y="1510"/>
                    <a:pt x="498" y="1510"/>
                    <a:pt x="498" y="1510"/>
                  </a:cubicBezTo>
                  <a:cubicBezTo>
                    <a:pt x="498" y="1510"/>
                    <a:pt x="505" y="1497"/>
                    <a:pt x="509" y="1497"/>
                  </a:cubicBezTo>
                  <a:cubicBezTo>
                    <a:pt x="513" y="1497"/>
                    <a:pt x="536" y="1497"/>
                    <a:pt x="534" y="1485"/>
                  </a:cubicBezTo>
                  <a:cubicBezTo>
                    <a:pt x="532" y="1474"/>
                    <a:pt x="532" y="1463"/>
                    <a:pt x="532" y="1463"/>
                  </a:cubicBezTo>
                  <a:cubicBezTo>
                    <a:pt x="533" y="1449"/>
                    <a:pt x="533" y="1449"/>
                    <a:pt x="533" y="1449"/>
                  </a:cubicBezTo>
                  <a:cubicBezTo>
                    <a:pt x="545" y="1445"/>
                    <a:pt x="545" y="1445"/>
                    <a:pt x="545" y="1445"/>
                  </a:cubicBezTo>
                  <a:cubicBezTo>
                    <a:pt x="545" y="1428"/>
                    <a:pt x="545" y="1428"/>
                    <a:pt x="545" y="1428"/>
                  </a:cubicBezTo>
                  <a:cubicBezTo>
                    <a:pt x="560" y="1416"/>
                    <a:pt x="560" y="1416"/>
                    <a:pt x="560" y="1416"/>
                  </a:cubicBezTo>
                  <a:cubicBezTo>
                    <a:pt x="560" y="1416"/>
                    <a:pt x="573" y="1435"/>
                    <a:pt x="588" y="1441"/>
                  </a:cubicBezTo>
                  <a:cubicBezTo>
                    <a:pt x="602" y="1446"/>
                    <a:pt x="665" y="1454"/>
                    <a:pt x="665" y="1454"/>
                  </a:cubicBezTo>
                  <a:cubicBezTo>
                    <a:pt x="680" y="1473"/>
                    <a:pt x="680" y="1473"/>
                    <a:pt x="680" y="1473"/>
                  </a:cubicBezTo>
                  <a:cubicBezTo>
                    <a:pt x="730" y="1461"/>
                    <a:pt x="730" y="1461"/>
                    <a:pt x="730" y="1461"/>
                  </a:cubicBezTo>
                  <a:cubicBezTo>
                    <a:pt x="730" y="1461"/>
                    <a:pt x="734" y="1442"/>
                    <a:pt x="736" y="1442"/>
                  </a:cubicBezTo>
                  <a:cubicBezTo>
                    <a:pt x="739" y="1442"/>
                    <a:pt x="770" y="1449"/>
                    <a:pt x="771" y="1460"/>
                  </a:cubicBezTo>
                  <a:cubicBezTo>
                    <a:pt x="772" y="1471"/>
                    <a:pt x="773" y="1479"/>
                    <a:pt x="775" y="1479"/>
                  </a:cubicBezTo>
                  <a:cubicBezTo>
                    <a:pt x="777" y="1479"/>
                    <a:pt x="792" y="1479"/>
                    <a:pt x="792" y="1479"/>
                  </a:cubicBezTo>
                  <a:cubicBezTo>
                    <a:pt x="792" y="1479"/>
                    <a:pt x="804" y="1494"/>
                    <a:pt x="809" y="1493"/>
                  </a:cubicBezTo>
                  <a:cubicBezTo>
                    <a:pt x="814" y="1491"/>
                    <a:pt x="816" y="1483"/>
                    <a:pt x="822" y="1484"/>
                  </a:cubicBezTo>
                  <a:cubicBezTo>
                    <a:pt x="828" y="1485"/>
                    <a:pt x="866" y="1518"/>
                    <a:pt x="866" y="1518"/>
                  </a:cubicBezTo>
                  <a:cubicBezTo>
                    <a:pt x="866" y="1518"/>
                    <a:pt x="907" y="1502"/>
                    <a:pt x="911" y="1512"/>
                  </a:cubicBezTo>
                  <a:cubicBezTo>
                    <a:pt x="915" y="1522"/>
                    <a:pt x="911" y="1556"/>
                    <a:pt x="911" y="1556"/>
                  </a:cubicBezTo>
                  <a:cubicBezTo>
                    <a:pt x="911" y="1556"/>
                    <a:pt x="920" y="1543"/>
                    <a:pt x="936" y="1556"/>
                  </a:cubicBezTo>
                  <a:cubicBezTo>
                    <a:pt x="952" y="1569"/>
                    <a:pt x="966" y="1583"/>
                    <a:pt x="973" y="1583"/>
                  </a:cubicBezTo>
                  <a:cubicBezTo>
                    <a:pt x="980" y="1583"/>
                    <a:pt x="990" y="1574"/>
                    <a:pt x="990" y="1574"/>
                  </a:cubicBezTo>
                  <a:cubicBezTo>
                    <a:pt x="990" y="1574"/>
                    <a:pt x="1006" y="1586"/>
                    <a:pt x="1006" y="1593"/>
                  </a:cubicBezTo>
                  <a:cubicBezTo>
                    <a:pt x="1007" y="1601"/>
                    <a:pt x="1015" y="1649"/>
                    <a:pt x="1015" y="1649"/>
                  </a:cubicBezTo>
                  <a:cubicBezTo>
                    <a:pt x="1045" y="1664"/>
                    <a:pt x="1045" y="1664"/>
                    <a:pt x="1045" y="1664"/>
                  </a:cubicBezTo>
                  <a:cubicBezTo>
                    <a:pt x="1045" y="1664"/>
                    <a:pt x="1050" y="1639"/>
                    <a:pt x="1073" y="1646"/>
                  </a:cubicBezTo>
                  <a:cubicBezTo>
                    <a:pt x="1096" y="1653"/>
                    <a:pt x="1106" y="1659"/>
                    <a:pt x="1108" y="1658"/>
                  </a:cubicBezTo>
                  <a:cubicBezTo>
                    <a:pt x="1110" y="1657"/>
                    <a:pt x="1120" y="1636"/>
                    <a:pt x="1120" y="1636"/>
                  </a:cubicBezTo>
                  <a:cubicBezTo>
                    <a:pt x="1120" y="1636"/>
                    <a:pt x="1140" y="1671"/>
                    <a:pt x="1154" y="1679"/>
                  </a:cubicBezTo>
                  <a:cubicBezTo>
                    <a:pt x="1168" y="1687"/>
                    <a:pt x="1202" y="1723"/>
                    <a:pt x="1211" y="1731"/>
                  </a:cubicBezTo>
                  <a:cubicBezTo>
                    <a:pt x="1220" y="1738"/>
                    <a:pt x="1296" y="1784"/>
                    <a:pt x="1304" y="1775"/>
                  </a:cubicBezTo>
                  <a:cubicBezTo>
                    <a:pt x="1313" y="1765"/>
                    <a:pt x="1317" y="1756"/>
                    <a:pt x="1317" y="1756"/>
                  </a:cubicBezTo>
                  <a:cubicBezTo>
                    <a:pt x="1346" y="1771"/>
                    <a:pt x="1346" y="1771"/>
                    <a:pt x="1346" y="1771"/>
                  </a:cubicBezTo>
                  <a:cubicBezTo>
                    <a:pt x="1350" y="1768"/>
                    <a:pt x="1354" y="1765"/>
                    <a:pt x="1354" y="1765"/>
                  </a:cubicBezTo>
                  <a:cubicBezTo>
                    <a:pt x="1349" y="1750"/>
                    <a:pt x="1349" y="1750"/>
                    <a:pt x="1349" y="1750"/>
                  </a:cubicBezTo>
                  <a:cubicBezTo>
                    <a:pt x="1366" y="1733"/>
                    <a:pt x="1366" y="1733"/>
                    <a:pt x="1366" y="1733"/>
                  </a:cubicBezTo>
                  <a:cubicBezTo>
                    <a:pt x="1366" y="1733"/>
                    <a:pt x="1336" y="1703"/>
                    <a:pt x="1344" y="1701"/>
                  </a:cubicBezTo>
                  <a:cubicBezTo>
                    <a:pt x="1352" y="1699"/>
                    <a:pt x="1372" y="1702"/>
                    <a:pt x="1372" y="1702"/>
                  </a:cubicBezTo>
                  <a:cubicBezTo>
                    <a:pt x="1425" y="1661"/>
                    <a:pt x="1425" y="1661"/>
                    <a:pt x="1425" y="1661"/>
                  </a:cubicBezTo>
                  <a:cubicBezTo>
                    <a:pt x="1456" y="1685"/>
                    <a:pt x="1456" y="1685"/>
                    <a:pt x="1456" y="1685"/>
                  </a:cubicBezTo>
                  <a:cubicBezTo>
                    <a:pt x="1456" y="1685"/>
                    <a:pt x="1446" y="1699"/>
                    <a:pt x="1449" y="1701"/>
                  </a:cubicBezTo>
                  <a:cubicBezTo>
                    <a:pt x="1452" y="1703"/>
                    <a:pt x="1462" y="1713"/>
                    <a:pt x="1462" y="1713"/>
                  </a:cubicBezTo>
                  <a:cubicBezTo>
                    <a:pt x="1462" y="1713"/>
                    <a:pt x="1446" y="1751"/>
                    <a:pt x="1446" y="1759"/>
                  </a:cubicBezTo>
                  <a:cubicBezTo>
                    <a:pt x="1446" y="1768"/>
                    <a:pt x="1426" y="1765"/>
                    <a:pt x="1426" y="1765"/>
                  </a:cubicBezTo>
                  <a:cubicBezTo>
                    <a:pt x="1404" y="1801"/>
                    <a:pt x="1404" y="1801"/>
                    <a:pt x="1404" y="1801"/>
                  </a:cubicBezTo>
                  <a:cubicBezTo>
                    <a:pt x="1421" y="1817"/>
                    <a:pt x="1421" y="1817"/>
                    <a:pt x="1421" y="1817"/>
                  </a:cubicBezTo>
                  <a:cubicBezTo>
                    <a:pt x="1414" y="1835"/>
                    <a:pt x="1414" y="1835"/>
                    <a:pt x="1414" y="1835"/>
                  </a:cubicBezTo>
                  <a:cubicBezTo>
                    <a:pt x="1414" y="1835"/>
                    <a:pt x="1433" y="1857"/>
                    <a:pt x="1428" y="1860"/>
                  </a:cubicBezTo>
                  <a:cubicBezTo>
                    <a:pt x="1424" y="1863"/>
                    <a:pt x="1421" y="1870"/>
                    <a:pt x="1421" y="1870"/>
                  </a:cubicBezTo>
                  <a:cubicBezTo>
                    <a:pt x="1421" y="1870"/>
                    <a:pt x="1425" y="1877"/>
                    <a:pt x="1428" y="1877"/>
                  </a:cubicBezTo>
                  <a:cubicBezTo>
                    <a:pt x="1432" y="1877"/>
                    <a:pt x="1444" y="1839"/>
                    <a:pt x="1462" y="1839"/>
                  </a:cubicBezTo>
                  <a:cubicBezTo>
                    <a:pt x="1481" y="1839"/>
                    <a:pt x="1495" y="1851"/>
                    <a:pt x="1505" y="1850"/>
                  </a:cubicBezTo>
                  <a:cubicBezTo>
                    <a:pt x="1515" y="1849"/>
                    <a:pt x="1524" y="1843"/>
                    <a:pt x="1524" y="1843"/>
                  </a:cubicBezTo>
                  <a:cubicBezTo>
                    <a:pt x="1524" y="1843"/>
                    <a:pt x="1539" y="1865"/>
                    <a:pt x="1540" y="1863"/>
                  </a:cubicBezTo>
                  <a:cubicBezTo>
                    <a:pt x="1542" y="1861"/>
                    <a:pt x="1574" y="1841"/>
                    <a:pt x="1574" y="1841"/>
                  </a:cubicBezTo>
                  <a:cubicBezTo>
                    <a:pt x="1574" y="1841"/>
                    <a:pt x="1585" y="1857"/>
                    <a:pt x="1591" y="1852"/>
                  </a:cubicBezTo>
                  <a:cubicBezTo>
                    <a:pt x="1597" y="1847"/>
                    <a:pt x="1580" y="1815"/>
                    <a:pt x="1580" y="1815"/>
                  </a:cubicBezTo>
                  <a:cubicBezTo>
                    <a:pt x="1602" y="1794"/>
                    <a:pt x="1602" y="1794"/>
                    <a:pt x="1602" y="1794"/>
                  </a:cubicBezTo>
                  <a:cubicBezTo>
                    <a:pt x="1619" y="1811"/>
                    <a:pt x="1619" y="1811"/>
                    <a:pt x="1619" y="1811"/>
                  </a:cubicBezTo>
                  <a:cubicBezTo>
                    <a:pt x="1626" y="1803"/>
                    <a:pt x="1626" y="1803"/>
                    <a:pt x="1626" y="1803"/>
                  </a:cubicBezTo>
                  <a:cubicBezTo>
                    <a:pt x="1648" y="1813"/>
                    <a:pt x="1648" y="1813"/>
                    <a:pt x="1648" y="1813"/>
                  </a:cubicBezTo>
                  <a:cubicBezTo>
                    <a:pt x="1648" y="1813"/>
                    <a:pt x="1638" y="1797"/>
                    <a:pt x="1654" y="1804"/>
                  </a:cubicBezTo>
                  <a:cubicBezTo>
                    <a:pt x="1670" y="1811"/>
                    <a:pt x="1668" y="1836"/>
                    <a:pt x="1675" y="1839"/>
                  </a:cubicBezTo>
                  <a:cubicBezTo>
                    <a:pt x="1682" y="1843"/>
                    <a:pt x="1690" y="1837"/>
                    <a:pt x="1690" y="1837"/>
                  </a:cubicBezTo>
                  <a:cubicBezTo>
                    <a:pt x="1724" y="1868"/>
                    <a:pt x="1724" y="1868"/>
                    <a:pt x="1724" y="1868"/>
                  </a:cubicBezTo>
                  <a:cubicBezTo>
                    <a:pt x="1724" y="1868"/>
                    <a:pt x="1750" y="1851"/>
                    <a:pt x="1752" y="1852"/>
                  </a:cubicBezTo>
                  <a:cubicBezTo>
                    <a:pt x="1755" y="1853"/>
                    <a:pt x="1770" y="1864"/>
                    <a:pt x="1770" y="1864"/>
                  </a:cubicBezTo>
                  <a:cubicBezTo>
                    <a:pt x="1770" y="1864"/>
                    <a:pt x="1776" y="1856"/>
                    <a:pt x="1780" y="1858"/>
                  </a:cubicBezTo>
                  <a:cubicBezTo>
                    <a:pt x="1783" y="1860"/>
                    <a:pt x="1789" y="1867"/>
                    <a:pt x="1792" y="1867"/>
                  </a:cubicBezTo>
                  <a:cubicBezTo>
                    <a:pt x="1794" y="1867"/>
                    <a:pt x="1797" y="1841"/>
                    <a:pt x="1823" y="1851"/>
                  </a:cubicBezTo>
                  <a:cubicBezTo>
                    <a:pt x="1849" y="1861"/>
                    <a:pt x="1916" y="1894"/>
                    <a:pt x="1916" y="1894"/>
                  </a:cubicBezTo>
                  <a:cubicBezTo>
                    <a:pt x="1916" y="1894"/>
                    <a:pt x="1933" y="1894"/>
                    <a:pt x="1945" y="1894"/>
                  </a:cubicBezTo>
                  <a:cubicBezTo>
                    <a:pt x="1945" y="1889"/>
                    <a:pt x="1945" y="1887"/>
                    <a:pt x="1945" y="1887"/>
                  </a:cubicBezTo>
                  <a:cubicBezTo>
                    <a:pt x="1945" y="1887"/>
                    <a:pt x="1960" y="1872"/>
                    <a:pt x="1961" y="1869"/>
                  </a:cubicBezTo>
                  <a:cubicBezTo>
                    <a:pt x="1962" y="1867"/>
                    <a:pt x="1964" y="1851"/>
                    <a:pt x="1964" y="1851"/>
                  </a:cubicBezTo>
                  <a:cubicBezTo>
                    <a:pt x="1992" y="1823"/>
                    <a:pt x="1992" y="1823"/>
                    <a:pt x="1992" y="1823"/>
                  </a:cubicBezTo>
                  <a:cubicBezTo>
                    <a:pt x="1992" y="1823"/>
                    <a:pt x="1990" y="1807"/>
                    <a:pt x="1990" y="1803"/>
                  </a:cubicBezTo>
                  <a:cubicBezTo>
                    <a:pt x="1990" y="1799"/>
                    <a:pt x="2002" y="1791"/>
                    <a:pt x="2002" y="1789"/>
                  </a:cubicBezTo>
                  <a:cubicBezTo>
                    <a:pt x="2001" y="1787"/>
                    <a:pt x="1996" y="1775"/>
                    <a:pt x="1996" y="1771"/>
                  </a:cubicBezTo>
                  <a:cubicBezTo>
                    <a:pt x="1996" y="1767"/>
                    <a:pt x="2039" y="1701"/>
                    <a:pt x="2046" y="1698"/>
                  </a:cubicBezTo>
                  <a:cubicBezTo>
                    <a:pt x="2052" y="1695"/>
                    <a:pt x="2060" y="1695"/>
                    <a:pt x="2060" y="1693"/>
                  </a:cubicBezTo>
                  <a:cubicBezTo>
                    <a:pt x="2060" y="1690"/>
                    <a:pt x="2065" y="1644"/>
                    <a:pt x="2069" y="1638"/>
                  </a:cubicBezTo>
                  <a:cubicBezTo>
                    <a:pt x="2073" y="1632"/>
                    <a:pt x="2118" y="1603"/>
                    <a:pt x="2118" y="1603"/>
                  </a:cubicBezTo>
                  <a:cubicBezTo>
                    <a:pt x="2118" y="1603"/>
                    <a:pt x="2117" y="1625"/>
                    <a:pt x="2134" y="1624"/>
                  </a:cubicBezTo>
                  <a:cubicBezTo>
                    <a:pt x="2152" y="1623"/>
                    <a:pt x="2182" y="1579"/>
                    <a:pt x="2196" y="1581"/>
                  </a:cubicBezTo>
                  <a:cubicBezTo>
                    <a:pt x="2210" y="1583"/>
                    <a:pt x="2244" y="1579"/>
                    <a:pt x="2244" y="1579"/>
                  </a:cubicBezTo>
                  <a:cubicBezTo>
                    <a:pt x="2244" y="1579"/>
                    <a:pt x="2278" y="1533"/>
                    <a:pt x="2303" y="1531"/>
                  </a:cubicBezTo>
                  <a:cubicBezTo>
                    <a:pt x="2328" y="1529"/>
                    <a:pt x="2370" y="1519"/>
                    <a:pt x="2370" y="1519"/>
                  </a:cubicBezTo>
                  <a:cubicBezTo>
                    <a:pt x="2370" y="1519"/>
                    <a:pt x="2354" y="1505"/>
                    <a:pt x="2380" y="1495"/>
                  </a:cubicBezTo>
                  <a:cubicBezTo>
                    <a:pt x="2405" y="1485"/>
                    <a:pt x="2422" y="1473"/>
                    <a:pt x="2422" y="1473"/>
                  </a:cubicBezTo>
                  <a:cubicBezTo>
                    <a:pt x="2422" y="1473"/>
                    <a:pt x="2420" y="1460"/>
                    <a:pt x="2422" y="1459"/>
                  </a:cubicBezTo>
                  <a:cubicBezTo>
                    <a:pt x="2424" y="1459"/>
                    <a:pt x="2441" y="1452"/>
                    <a:pt x="2438" y="1444"/>
                  </a:cubicBezTo>
                  <a:cubicBezTo>
                    <a:pt x="2436" y="1436"/>
                    <a:pt x="2413" y="1425"/>
                    <a:pt x="2414" y="1416"/>
                  </a:cubicBezTo>
                  <a:cubicBezTo>
                    <a:pt x="2414" y="1407"/>
                    <a:pt x="2442" y="1373"/>
                    <a:pt x="2442" y="1370"/>
                  </a:cubicBezTo>
                  <a:cubicBezTo>
                    <a:pt x="2442" y="1367"/>
                    <a:pt x="2438" y="1341"/>
                    <a:pt x="2438" y="1341"/>
                  </a:cubicBezTo>
                  <a:cubicBezTo>
                    <a:pt x="2422" y="1319"/>
                    <a:pt x="2422" y="1319"/>
                    <a:pt x="2422" y="1319"/>
                  </a:cubicBezTo>
                  <a:cubicBezTo>
                    <a:pt x="2443" y="1296"/>
                    <a:pt x="2443" y="1296"/>
                    <a:pt x="2443" y="1296"/>
                  </a:cubicBezTo>
                  <a:cubicBezTo>
                    <a:pt x="2443" y="1296"/>
                    <a:pt x="2440" y="1288"/>
                    <a:pt x="2436" y="1276"/>
                  </a:cubicBezTo>
                  <a:close/>
                  <a:moveTo>
                    <a:pt x="913" y="1132"/>
                  </a:moveTo>
                  <a:cubicBezTo>
                    <a:pt x="908" y="1146"/>
                    <a:pt x="919" y="1201"/>
                    <a:pt x="907" y="1223"/>
                  </a:cubicBezTo>
                  <a:cubicBezTo>
                    <a:pt x="894" y="1244"/>
                    <a:pt x="863" y="1255"/>
                    <a:pt x="858" y="1252"/>
                  </a:cubicBezTo>
                  <a:cubicBezTo>
                    <a:pt x="854" y="1249"/>
                    <a:pt x="841" y="1235"/>
                    <a:pt x="828" y="1235"/>
                  </a:cubicBezTo>
                  <a:cubicBezTo>
                    <a:pt x="816" y="1235"/>
                    <a:pt x="803" y="1249"/>
                    <a:pt x="799" y="1244"/>
                  </a:cubicBezTo>
                  <a:cubicBezTo>
                    <a:pt x="794" y="1240"/>
                    <a:pt x="786" y="1235"/>
                    <a:pt x="786" y="1235"/>
                  </a:cubicBezTo>
                  <a:cubicBezTo>
                    <a:pt x="786" y="1235"/>
                    <a:pt x="803" y="1226"/>
                    <a:pt x="805" y="1213"/>
                  </a:cubicBezTo>
                  <a:cubicBezTo>
                    <a:pt x="807" y="1201"/>
                    <a:pt x="839" y="1111"/>
                    <a:pt x="839" y="1111"/>
                  </a:cubicBezTo>
                  <a:cubicBezTo>
                    <a:pt x="839" y="1111"/>
                    <a:pt x="868" y="1099"/>
                    <a:pt x="872" y="1102"/>
                  </a:cubicBezTo>
                  <a:cubicBezTo>
                    <a:pt x="877" y="1105"/>
                    <a:pt x="894" y="1111"/>
                    <a:pt x="894" y="1111"/>
                  </a:cubicBezTo>
                  <a:cubicBezTo>
                    <a:pt x="894" y="1111"/>
                    <a:pt x="915" y="1094"/>
                    <a:pt x="915" y="1099"/>
                  </a:cubicBezTo>
                  <a:cubicBezTo>
                    <a:pt x="915" y="1103"/>
                    <a:pt x="918" y="1118"/>
                    <a:pt x="913" y="1132"/>
                  </a:cubicBezTo>
                  <a:close/>
                  <a:moveTo>
                    <a:pt x="1118" y="1212"/>
                  </a:moveTo>
                  <a:cubicBezTo>
                    <a:pt x="1112" y="1224"/>
                    <a:pt x="1082" y="1234"/>
                    <a:pt x="1082" y="1243"/>
                  </a:cubicBezTo>
                  <a:cubicBezTo>
                    <a:pt x="1082" y="1252"/>
                    <a:pt x="1057" y="1321"/>
                    <a:pt x="1051" y="1321"/>
                  </a:cubicBezTo>
                  <a:cubicBezTo>
                    <a:pt x="1045" y="1321"/>
                    <a:pt x="1002" y="1332"/>
                    <a:pt x="995" y="1323"/>
                  </a:cubicBezTo>
                  <a:cubicBezTo>
                    <a:pt x="987" y="1313"/>
                    <a:pt x="1006" y="1317"/>
                    <a:pt x="996" y="1304"/>
                  </a:cubicBezTo>
                  <a:cubicBezTo>
                    <a:pt x="987" y="1291"/>
                    <a:pt x="957" y="1260"/>
                    <a:pt x="987" y="1271"/>
                  </a:cubicBezTo>
                  <a:cubicBezTo>
                    <a:pt x="987" y="1271"/>
                    <a:pt x="1009" y="1307"/>
                    <a:pt x="1020" y="1295"/>
                  </a:cubicBezTo>
                  <a:cubicBezTo>
                    <a:pt x="1031" y="1282"/>
                    <a:pt x="1021" y="1260"/>
                    <a:pt x="1021" y="1251"/>
                  </a:cubicBezTo>
                  <a:cubicBezTo>
                    <a:pt x="1021" y="1241"/>
                    <a:pt x="1021" y="1219"/>
                    <a:pt x="1021" y="1219"/>
                  </a:cubicBezTo>
                  <a:cubicBezTo>
                    <a:pt x="1040" y="1216"/>
                    <a:pt x="1040" y="1216"/>
                    <a:pt x="1040" y="1216"/>
                  </a:cubicBezTo>
                  <a:cubicBezTo>
                    <a:pt x="1040" y="1216"/>
                    <a:pt x="1035" y="1150"/>
                    <a:pt x="1057" y="1174"/>
                  </a:cubicBezTo>
                  <a:cubicBezTo>
                    <a:pt x="1079" y="1197"/>
                    <a:pt x="1067" y="1207"/>
                    <a:pt x="1067" y="1207"/>
                  </a:cubicBezTo>
                  <a:cubicBezTo>
                    <a:pt x="1062" y="1224"/>
                    <a:pt x="1062" y="1224"/>
                    <a:pt x="1062" y="1224"/>
                  </a:cubicBezTo>
                  <a:cubicBezTo>
                    <a:pt x="1084" y="1226"/>
                    <a:pt x="1084" y="1226"/>
                    <a:pt x="1084" y="1226"/>
                  </a:cubicBezTo>
                  <a:cubicBezTo>
                    <a:pt x="1084" y="1226"/>
                    <a:pt x="1104" y="1221"/>
                    <a:pt x="1096" y="1202"/>
                  </a:cubicBezTo>
                  <a:cubicBezTo>
                    <a:pt x="1089" y="1183"/>
                    <a:pt x="1081" y="1166"/>
                    <a:pt x="1090" y="1166"/>
                  </a:cubicBezTo>
                  <a:cubicBezTo>
                    <a:pt x="1100" y="1166"/>
                    <a:pt x="1125" y="1199"/>
                    <a:pt x="1118" y="1212"/>
                  </a:cubicBezTo>
                  <a:close/>
                </a:path>
              </a:pathLst>
            </a:custGeom>
            <a:noFill/>
            <a:ln w="3175" cap="flat" cmpd="sng">
              <a:solidFill>
                <a:srgbClr val="585858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474" name="Freeform 225"/>
            <p:cNvSpPr>
              <a:spLocks noChangeAspect="1"/>
            </p:cNvSpPr>
            <p:nvPr/>
          </p:nvSpPr>
          <p:spPr bwMode="auto">
            <a:xfrm>
              <a:off x="613" y="2084"/>
              <a:ext cx="800" cy="660"/>
            </a:xfrm>
            <a:custGeom>
              <a:avLst/>
              <a:gdLst>
                <a:gd name="T0" fmla="*/ 962 w 1097"/>
                <a:gd name="T1" fmla="*/ 315 h 908"/>
                <a:gd name="T2" fmla="*/ 871 w 1097"/>
                <a:gd name="T3" fmla="*/ 220 h 908"/>
                <a:gd name="T4" fmla="*/ 824 w 1097"/>
                <a:gd name="T5" fmla="*/ 230 h 908"/>
                <a:gd name="T6" fmla="*/ 766 w 1097"/>
                <a:gd name="T7" fmla="*/ 233 h 908"/>
                <a:gd name="T8" fmla="*/ 741 w 1097"/>
                <a:gd name="T9" fmla="*/ 158 h 908"/>
                <a:gd name="T10" fmla="*/ 687 w 1097"/>
                <a:gd name="T11" fmla="*/ 140 h 908"/>
                <a:gd name="T12" fmla="*/ 662 w 1097"/>
                <a:gd name="T13" fmla="*/ 96 h 908"/>
                <a:gd name="T14" fmla="*/ 573 w 1097"/>
                <a:gd name="T15" fmla="*/ 68 h 908"/>
                <a:gd name="T16" fmla="*/ 543 w 1097"/>
                <a:gd name="T17" fmla="*/ 63 h 908"/>
                <a:gd name="T18" fmla="*/ 522 w 1097"/>
                <a:gd name="T19" fmla="*/ 44 h 908"/>
                <a:gd name="T20" fmla="*/ 481 w 1097"/>
                <a:gd name="T21" fmla="*/ 45 h 908"/>
                <a:gd name="T22" fmla="*/ 416 w 1097"/>
                <a:gd name="T23" fmla="*/ 38 h 908"/>
                <a:gd name="T24" fmla="*/ 311 w 1097"/>
                <a:gd name="T25" fmla="*/ 0 h 908"/>
                <a:gd name="T26" fmla="*/ 296 w 1097"/>
                <a:gd name="T27" fmla="*/ 29 h 908"/>
                <a:gd name="T28" fmla="*/ 283 w 1097"/>
                <a:gd name="T29" fmla="*/ 47 h 908"/>
                <a:gd name="T30" fmla="*/ 260 w 1097"/>
                <a:gd name="T31" fmla="*/ 81 h 908"/>
                <a:gd name="T32" fmla="*/ 234 w 1097"/>
                <a:gd name="T33" fmla="*/ 80 h 908"/>
                <a:gd name="T34" fmla="*/ 200 w 1097"/>
                <a:gd name="T35" fmla="*/ 102 h 908"/>
                <a:gd name="T36" fmla="*/ 153 w 1097"/>
                <a:gd name="T37" fmla="*/ 131 h 908"/>
                <a:gd name="T38" fmla="*/ 130 w 1097"/>
                <a:gd name="T39" fmla="*/ 226 h 908"/>
                <a:gd name="T40" fmla="*/ 126 w 1097"/>
                <a:gd name="T41" fmla="*/ 274 h 908"/>
                <a:gd name="T42" fmla="*/ 96 w 1097"/>
                <a:gd name="T43" fmla="*/ 308 h 908"/>
                <a:gd name="T44" fmla="*/ 0 w 1097"/>
                <a:gd name="T45" fmla="*/ 339 h 908"/>
                <a:gd name="T46" fmla="*/ 43 w 1097"/>
                <a:gd name="T47" fmla="*/ 365 h 908"/>
                <a:gd name="T48" fmla="*/ 98 w 1097"/>
                <a:gd name="T49" fmla="*/ 416 h 908"/>
                <a:gd name="T50" fmla="*/ 88 w 1097"/>
                <a:gd name="T51" fmla="*/ 483 h 908"/>
                <a:gd name="T52" fmla="*/ 35 w 1097"/>
                <a:gd name="T53" fmla="*/ 506 h 908"/>
                <a:gd name="T54" fmla="*/ 59 w 1097"/>
                <a:gd name="T55" fmla="*/ 590 h 908"/>
                <a:gd name="T56" fmla="*/ 59 w 1097"/>
                <a:gd name="T57" fmla="*/ 643 h 908"/>
                <a:gd name="T58" fmla="*/ 116 w 1097"/>
                <a:gd name="T59" fmla="*/ 702 h 908"/>
                <a:gd name="T60" fmla="*/ 153 w 1097"/>
                <a:gd name="T61" fmla="*/ 810 h 908"/>
                <a:gd name="T62" fmla="*/ 176 w 1097"/>
                <a:gd name="T63" fmla="*/ 874 h 908"/>
                <a:gd name="T64" fmla="*/ 243 w 1097"/>
                <a:gd name="T65" fmla="*/ 900 h 908"/>
                <a:gd name="T66" fmla="*/ 289 w 1097"/>
                <a:gd name="T67" fmla="*/ 884 h 908"/>
                <a:gd name="T68" fmla="*/ 320 w 1097"/>
                <a:gd name="T69" fmla="*/ 837 h 908"/>
                <a:gd name="T70" fmla="*/ 360 w 1097"/>
                <a:gd name="T71" fmla="*/ 838 h 908"/>
                <a:gd name="T72" fmla="*/ 383 w 1097"/>
                <a:gd name="T73" fmla="*/ 841 h 908"/>
                <a:gd name="T74" fmla="*/ 429 w 1097"/>
                <a:gd name="T75" fmla="*/ 849 h 908"/>
                <a:gd name="T76" fmla="*/ 510 w 1097"/>
                <a:gd name="T77" fmla="*/ 769 h 908"/>
                <a:gd name="T78" fmla="*/ 525 w 1097"/>
                <a:gd name="T79" fmla="*/ 719 h 908"/>
                <a:gd name="T80" fmla="*/ 560 w 1097"/>
                <a:gd name="T81" fmla="*/ 645 h 908"/>
                <a:gd name="T82" fmla="*/ 631 w 1097"/>
                <a:gd name="T83" fmla="*/ 573 h 908"/>
                <a:gd name="T84" fmla="*/ 659 w 1097"/>
                <a:gd name="T85" fmla="*/ 501 h 908"/>
                <a:gd name="T86" fmla="*/ 729 w 1097"/>
                <a:gd name="T87" fmla="*/ 479 h 908"/>
                <a:gd name="T88" fmla="*/ 801 w 1097"/>
                <a:gd name="T89" fmla="*/ 453 h 908"/>
                <a:gd name="T90" fmla="*/ 870 w 1097"/>
                <a:gd name="T91" fmla="*/ 433 h 908"/>
                <a:gd name="T92" fmla="*/ 910 w 1097"/>
                <a:gd name="T93" fmla="*/ 414 h 908"/>
                <a:gd name="T94" fmla="*/ 979 w 1097"/>
                <a:gd name="T95" fmla="*/ 453 h 908"/>
                <a:gd name="T96" fmla="*/ 1081 w 1097"/>
                <a:gd name="T97" fmla="*/ 422 h 908"/>
                <a:gd name="T98" fmla="*/ 1097 w 1097"/>
                <a:gd name="T99" fmla="*/ 355 h 908"/>
                <a:gd name="T100" fmla="*/ 1055 w 1097"/>
                <a:gd name="T101" fmla="*/ 359 h 90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097"/>
                <a:gd name="T154" fmla="*/ 0 h 908"/>
                <a:gd name="T155" fmla="*/ 1097 w 1097"/>
                <a:gd name="T156" fmla="*/ 908 h 90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097" h="908">
                  <a:moveTo>
                    <a:pt x="1055" y="359"/>
                  </a:moveTo>
                  <a:cubicBezTo>
                    <a:pt x="1047" y="368"/>
                    <a:pt x="971" y="322"/>
                    <a:pt x="962" y="315"/>
                  </a:cubicBezTo>
                  <a:cubicBezTo>
                    <a:pt x="953" y="307"/>
                    <a:pt x="919" y="271"/>
                    <a:pt x="905" y="263"/>
                  </a:cubicBezTo>
                  <a:cubicBezTo>
                    <a:pt x="891" y="255"/>
                    <a:pt x="871" y="220"/>
                    <a:pt x="871" y="220"/>
                  </a:cubicBezTo>
                  <a:cubicBezTo>
                    <a:pt x="871" y="220"/>
                    <a:pt x="861" y="241"/>
                    <a:pt x="859" y="242"/>
                  </a:cubicBezTo>
                  <a:cubicBezTo>
                    <a:pt x="857" y="243"/>
                    <a:pt x="847" y="237"/>
                    <a:pt x="824" y="230"/>
                  </a:cubicBezTo>
                  <a:cubicBezTo>
                    <a:pt x="801" y="223"/>
                    <a:pt x="796" y="248"/>
                    <a:pt x="796" y="248"/>
                  </a:cubicBezTo>
                  <a:cubicBezTo>
                    <a:pt x="766" y="233"/>
                    <a:pt x="766" y="233"/>
                    <a:pt x="766" y="233"/>
                  </a:cubicBezTo>
                  <a:cubicBezTo>
                    <a:pt x="766" y="233"/>
                    <a:pt x="758" y="185"/>
                    <a:pt x="757" y="177"/>
                  </a:cubicBezTo>
                  <a:cubicBezTo>
                    <a:pt x="757" y="170"/>
                    <a:pt x="741" y="158"/>
                    <a:pt x="741" y="158"/>
                  </a:cubicBezTo>
                  <a:cubicBezTo>
                    <a:pt x="741" y="158"/>
                    <a:pt x="731" y="167"/>
                    <a:pt x="724" y="167"/>
                  </a:cubicBezTo>
                  <a:cubicBezTo>
                    <a:pt x="717" y="167"/>
                    <a:pt x="703" y="153"/>
                    <a:pt x="687" y="140"/>
                  </a:cubicBezTo>
                  <a:cubicBezTo>
                    <a:pt x="671" y="127"/>
                    <a:pt x="662" y="140"/>
                    <a:pt x="662" y="140"/>
                  </a:cubicBezTo>
                  <a:cubicBezTo>
                    <a:pt x="662" y="140"/>
                    <a:pt x="666" y="106"/>
                    <a:pt x="662" y="96"/>
                  </a:cubicBezTo>
                  <a:cubicBezTo>
                    <a:pt x="658" y="86"/>
                    <a:pt x="617" y="102"/>
                    <a:pt x="617" y="102"/>
                  </a:cubicBezTo>
                  <a:cubicBezTo>
                    <a:pt x="617" y="102"/>
                    <a:pt x="579" y="69"/>
                    <a:pt x="573" y="68"/>
                  </a:cubicBezTo>
                  <a:cubicBezTo>
                    <a:pt x="567" y="67"/>
                    <a:pt x="565" y="75"/>
                    <a:pt x="560" y="77"/>
                  </a:cubicBezTo>
                  <a:cubicBezTo>
                    <a:pt x="555" y="78"/>
                    <a:pt x="543" y="63"/>
                    <a:pt x="543" y="63"/>
                  </a:cubicBezTo>
                  <a:cubicBezTo>
                    <a:pt x="543" y="63"/>
                    <a:pt x="528" y="63"/>
                    <a:pt x="526" y="63"/>
                  </a:cubicBezTo>
                  <a:cubicBezTo>
                    <a:pt x="524" y="63"/>
                    <a:pt x="523" y="55"/>
                    <a:pt x="522" y="44"/>
                  </a:cubicBezTo>
                  <a:cubicBezTo>
                    <a:pt x="521" y="33"/>
                    <a:pt x="490" y="26"/>
                    <a:pt x="487" y="26"/>
                  </a:cubicBezTo>
                  <a:cubicBezTo>
                    <a:pt x="485" y="26"/>
                    <a:pt x="481" y="45"/>
                    <a:pt x="481" y="45"/>
                  </a:cubicBezTo>
                  <a:cubicBezTo>
                    <a:pt x="431" y="57"/>
                    <a:pt x="431" y="57"/>
                    <a:pt x="431" y="57"/>
                  </a:cubicBezTo>
                  <a:cubicBezTo>
                    <a:pt x="416" y="38"/>
                    <a:pt x="416" y="38"/>
                    <a:pt x="416" y="38"/>
                  </a:cubicBezTo>
                  <a:cubicBezTo>
                    <a:pt x="416" y="38"/>
                    <a:pt x="353" y="30"/>
                    <a:pt x="339" y="25"/>
                  </a:cubicBezTo>
                  <a:cubicBezTo>
                    <a:pt x="324" y="19"/>
                    <a:pt x="311" y="0"/>
                    <a:pt x="311" y="0"/>
                  </a:cubicBezTo>
                  <a:cubicBezTo>
                    <a:pt x="296" y="12"/>
                    <a:pt x="296" y="12"/>
                    <a:pt x="296" y="12"/>
                  </a:cubicBezTo>
                  <a:cubicBezTo>
                    <a:pt x="296" y="29"/>
                    <a:pt x="296" y="29"/>
                    <a:pt x="296" y="29"/>
                  </a:cubicBezTo>
                  <a:cubicBezTo>
                    <a:pt x="284" y="33"/>
                    <a:pt x="284" y="33"/>
                    <a:pt x="284" y="33"/>
                  </a:cubicBezTo>
                  <a:cubicBezTo>
                    <a:pt x="283" y="47"/>
                    <a:pt x="283" y="47"/>
                    <a:pt x="283" y="47"/>
                  </a:cubicBezTo>
                  <a:cubicBezTo>
                    <a:pt x="283" y="47"/>
                    <a:pt x="283" y="58"/>
                    <a:pt x="285" y="69"/>
                  </a:cubicBezTo>
                  <a:cubicBezTo>
                    <a:pt x="287" y="81"/>
                    <a:pt x="264" y="81"/>
                    <a:pt x="260" y="81"/>
                  </a:cubicBezTo>
                  <a:cubicBezTo>
                    <a:pt x="256" y="81"/>
                    <a:pt x="249" y="94"/>
                    <a:pt x="249" y="94"/>
                  </a:cubicBezTo>
                  <a:cubicBezTo>
                    <a:pt x="234" y="80"/>
                    <a:pt x="234" y="80"/>
                    <a:pt x="234" y="80"/>
                  </a:cubicBezTo>
                  <a:cubicBezTo>
                    <a:pt x="234" y="80"/>
                    <a:pt x="224" y="81"/>
                    <a:pt x="215" y="81"/>
                  </a:cubicBezTo>
                  <a:cubicBezTo>
                    <a:pt x="210" y="91"/>
                    <a:pt x="203" y="99"/>
                    <a:pt x="200" y="102"/>
                  </a:cubicBezTo>
                  <a:cubicBezTo>
                    <a:pt x="193" y="107"/>
                    <a:pt x="189" y="116"/>
                    <a:pt x="183" y="122"/>
                  </a:cubicBezTo>
                  <a:cubicBezTo>
                    <a:pt x="177" y="127"/>
                    <a:pt x="153" y="131"/>
                    <a:pt x="153" y="131"/>
                  </a:cubicBezTo>
                  <a:cubicBezTo>
                    <a:pt x="153" y="152"/>
                    <a:pt x="153" y="152"/>
                    <a:pt x="153" y="152"/>
                  </a:cubicBezTo>
                  <a:cubicBezTo>
                    <a:pt x="153" y="152"/>
                    <a:pt x="132" y="215"/>
                    <a:pt x="130" y="226"/>
                  </a:cubicBezTo>
                  <a:cubicBezTo>
                    <a:pt x="129" y="237"/>
                    <a:pt x="139" y="253"/>
                    <a:pt x="145" y="262"/>
                  </a:cubicBezTo>
                  <a:cubicBezTo>
                    <a:pt x="150" y="271"/>
                    <a:pt x="126" y="274"/>
                    <a:pt x="126" y="274"/>
                  </a:cubicBezTo>
                  <a:cubicBezTo>
                    <a:pt x="126" y="274"/>
                    <a:pt x="128" y="299"/>
                    <a:pt x="132" y="297"/>
                  </a:cubicBezTo>
                  <a:cubicBezTo>
                    <a:pt x="136" y="295"/>
                    <a:pt x="114" y="307"/>
                    <a:pt x="96" y="308"/>
                  </a:cubicBezTo>
                  <a:cubicBezTo>
                    <a:pt x="78" y="309"/>
                    <a:pt x="74" y="268"/>
                    <a:pt x="62" y="261"/>
                  </a:cubicBezTo>
                  <a:cubicBezTo>
                    <a:pt x="50" y="255"/>
                    <a:pt x="0" y="339"/>
                    <a:pt x="0" y="339"/>
                  </a:cubicBezTo>
                  <a:cubicBezTo>
                    <a:pt x="8" y="369"/>
                    <a:pt x="8" y="369"/>
                    <a:pt x="8" y="369"/>
                  </a:cubicBezTo>
                  <a:cubicBezTo>
                    <a:pt x="43" y="365"/>
                    <a:pt x="43" y="365"/>
                    <a:pt x="43" y="365"/>
                  </a:cubicBezTo>
                  <a:cubicBezTo>
                    <a:pt x="43" y="365"/>
                    <a:pt x="45" y="391"/>
                    <a:pt x="49" y="407"/>
                  </a:cubicBezTo>
                  <a:cubicBezTo>
                    <a:pt x="53" y="423"/>
                    <a:pt x="98" y="416"/>
                    <a:pt x="98" y="416"/>
                  </a:cubicBezTo>
                  <a:cubicBezTo>
                    <a:pt x="98" y="416"/>
                    <a:pt x="100" y="434"/>
                    <a:pt x="91" y="450"/>
                  </a:cubicBezTo>
                  <a:cubicBezTo>
                    <a:pt x="81" y="465"/>
                    <a:pt x="88" y="479"/>
                    <a:pt x="88" y="483"/>
                  </a:cubicBezTo>
                  <a:cubicBezTo>
                    <a:pt x="88" y="487"/>
                    <a:pt x="69" y="482"/>
                    <a:pt x="69" y="482"/>
                  </a:cubicBezTo>
                  <a:cubicBezTo>
                    <a:pt x="35" y="506"/>
                    <a:pt x="35" y="506"/>
                    <a:pt x="35" y="506"/>
                  </a:cubicBezTo>
                  <a:cubicBezTo>
                    <a:pt x="35" y="506"/>
                    <a:pt x="49" y="524"/>
                    <a:pt x="50" y="526"/>
                  </a:cubicBezTo>
                  <a:cubicBezTo>
                    <a:pt x="51" y="528"/>
                    <a:pt x="66" y="574"/>
                    <a:pt x="59" y="590"/>
                  </a:cubicBezTo>
                  <a:cubicBezTo>
                    <a:pt x="51" y="606"/>
                    <a:pt x="41" y="612"/>
                    <a:pt x="37" y="630"/>
                  </a:cubicBezTo>
                  <a:cubicBezTo>
                    <a:pt x="33" y="649"/>
                    <a:pt x="56" y="641"/>
                    <a:pt x="59" y="643"/>
                  </a:cubicBezTo>
                  <a:cubicBezTo>
                    <a:pt x="62" y="644"/>
                    <a:pt x="61" y="655"/>
                    <a:pt x="64" y="677"/>
                  </a:cubicBezTo>
                  <a:cubicBezTo>
                    <a:pt x="68" y="699"/>
                    <a:pt x="108" y="692"/>
                    <a:pt x="116" y="702"/>
                  </a:cubicBezTo>
                  <a:cubicBezTo>
                    <a:pt x="123" y="712"/>
                    <a:pt x="122" y="720"/>
                    <a:pt x="116" y="744"/>
                  </a:cubicBezTo>
                  <a:cubicBezTo>
                    <a:pt x="111" y="769"/>
                    <a:pt x="141" y="791"/>
                    <a:pt x="153" y="810"/>
                  </a:cubicBezTo>
                  <a:cubicBezTo>
                    <a:pt x="166" y="829"/>
                    <a:pt x="167" y="840"/>
                    <a:pt x="171" y="858"/>
                  </a:cubicBezTo>
                  <a:cubicBezTo>
                    <a:pt x="172" y="867"/>
                    <a:pt x="174" y="871"/>
                    <a:pt x="176" y="874"/>
                  </a:cubicBezTo>
                  <a:cubicBezTo>
                    <a:pt x="188" y="869"/>
                    <a:pt x="188" y="869"/>
                    <a:pt x="188" y="869"/>
                  </a:cubicBezTo>
                  <a:cubicBezTo>
                    <a:pt x="188" y="869"/>
                    <a:pt x="233" y="908"/>
                    <a:pt x="243" y="900"/>
                  </a:cubicBezTo>
                  <a:cubicBezTo>
                    <a:pt x="252" y="891"/>
                    <a:pt x="253" y="885"/>
                    <a:pt x="256" y="885"/>
                  </a:cubicBezTo>
                  <a:cubicBezTo>
                    <a:pt x="259" y="885"/>
                    <a:pt x="275" y="893"/>
                    <a:pt x="289" y="884"/>
                  </a:cubicBezTo>
                  <a:cubicBezTo>
                    <a:pt x="302" y="874"/>
                    <a:pt x="320" y="857"/>
                    <a:pt x="320" y="857"/>
                  </a:cubicBezTo>
                  <a:cubicBezTo>
                    <a:pt x="320" y="837"/>
                    <a:pt x="320" y="837"/>
                    <a:pt x="320" y="837"/>
                  </a:cubicBezTo>
                  <a:cubicBezTo>
                    <a:pt x="338" y="830"/>
                    <a:pt x="338" y="830"/>
                    <a:pt x="338" y="830"/>
                  </a:cubicBezTo>
                  <a:cubicBezTo>
                    <a:pt x="360" y="838"/>
                    <a:pt x="360" y="838"/>
                    <a:pt x="360" y="838"/>
                  </a:cubicBezTo>
                  <a:cubicBezTo>
                    <a:pt x="360" y="838"/>
                    <a:pt x="368" y="823"/>
                    <a:pt x="373" y="826"/>
                  </a:cubicBezTo>
                  <a:cubicBezTo>
                    <a:pt x="378" y="828"/>
                    <a:pt x="383" y="841"/>
                    <a:pt x="383" y="841"/>
                  </a:cubicBezTo>
                  <a:cubicBezTo>
                    <a:pt x="418" y="859"/>
                    <a:pt x="418" y="859"/>
                    <a:pt x="418" y="859"/>
                  </a:cubicBezTo>
                  <a:cubicBezTo>
                    <a:pt x="429" y="849"/>
                    <a:pt x="429" y="849"/>
                    <a:pt x="429" y="849"/>
                  </a:cubicBezTo>
                  <a:cubicBezTo>
                    <a:pt x="429" y="825"/>
                    <a:pt x="429" y="825"/>
                    <a:pt x="429" y="825"/>
                  </a:cubicBezTo>
                  <a:cubicBezTo>
                    <a:pt x="510" y="769"/>
                    <a:pt x="510" y="769"/>
                    <a:pt x="510" y="769"/>
                  </a:cubicBezTo>
                  <a:cubicBezTo>
                    <a:pt x="510" y="769"/>
                    <a:pt x="527" y="777"/>
                    <a:pt x="527" y="767"/>
                  </a:cubicBezTo>
                  <a:cubicBezTo>
                    <a:pt x="527" y="757"/>
                    <a:pt x="529" y="737"/>
                    <a:pt x="525" y="719"/>
                  </a:cubicBezTo>
                  <a:cubicBezTo>
                    <a:pt x="521" y="702"/>
                    <a:pt x="517" y="658"/>
                    <a:pt x="529" y="653"/>
                  </a:cubicBezTo>
                  <a:cubicBezTo>
                    <a:pt x="541" y="647"/>
                    <a:pt x="553" y="651"/>
                    <a:pt x="560" y="645"/>
                  </a:cubicBezTo>
                  <a:cubicBezTo>
                    <a:pt x="567" y="639"/>
                    <a:pt x="585" y="623"/>
                    <a:pt x="589" y="615"/>
                  </a:cubicBezTo>
                  <a:cubicBezTo>
                    <a:pt x="593" y="606"/>
                    <a:pt x="631" y="577"/>
                    <a:pt x="631" y="573"/>
                  </a:cubicBezTo>
                  <a:cubicBezTo>
                    <a:pt x="631" y="570"/>
                    <a:pt x="607" y="534"/>
                    <a:pt x="614" y="530"/>
                  </a:cubicBezTo>
                  <a:cubicBezTo>
                    <a:pt x="621" y="526"/>
                    <a:pt x="659" y="501"/>
                    <a:pt x="659" y="501"/>
                  </a:cubicBezTo>
                  <a:cubicBezTo>
                    <a:pt x="659" y="501"/>
                    <a:pt x="685" y="502"/>
                    <a:pt x="689" y="499"/>
                  </a:cubicBezTo>
                  <a:cubicBezTo>
                    <a:pt x="693" y="497"/>
                    <a:pt x="727" y="485"/>
                    <a:pt x="729" y="479"/>
                  </a:cubicBezTo>
                  <a:cubicBezTo>
                    <a:pt x="730" y="474"/>
                    <a:pt x="740" y="436"/>
                    <a:pt x="760" y="441"/>
                  </a:cubicBezTo>
                  <a:cubicBezTo>
                    <a:pt x="780" y="445"/>
                    <a:pt x="801" y="457"/>
                    <a:pt x="801" y="453"/>
                  </a:cubicBezTo>
                  <a:cubicBezTo>
                    <a:pt x="802" y="449"/>
                    <a:pt x="818" y="425"/>
                    <a:pt x="821" y="425"/>
                  </a:cubicBezTo>
                  <a:cubicBezTo>
                    <a:pt x="825" y="424"/>
                    <a:pt x="850" y="434"/>
                    <a:pt x="870" y="433"/>
                  </a:cubicBezTo>
                  <a:cubicBezTo>
                    <a:pt x="890" y="433"/>
                    <a:pt x="897" y="430"/>
                    <a:pt x="897" y="430"/>
                  </a:cubicBezTo>
                  <a:cubicBezTo>
                    <a:pt x="897" y="430"/>
                    <a:pt x="903" y="409"/>
                    <a:pt x="910" y="414"/>
                  </a:cubicBezTo>
                  <a:cubicBezTo>
                    <a:pt x="917" y="419"/>
                    <a:pt x="940" y="444"/>
                    <a:pt x="940" y="444"/>
                  </a:cubicBezTo>
                  <a:cubicBezTo>
                    <a:pt x="940" y="444"/>
                    <a:pt x="978" y="451"/>
                    <a:pt x="979" y="453"/>
                  </a:cubicBezTo>
                  <a:cubicBezTo>
                    <a:pt x="979" y="456"/>
                    <a:pt x="1013" y="425"/>
                    <a:pt x="1013" y="425"/>
                  </a:cubicBezTo>
                  <a:cubicBezTo>
                    <a:pt x="1013" y="425"/>
                    <a:pt x="1081" y="424"/>
                    <a:pt x="1081" y="422"/>
                  </a:cubicBezTo>
                  <a:cubicBezTo>
                    <a:pt x="1081" y="420"/>
                    <a:pt x="1076" y="375"/>
                    <a:pt x="1079" y="371"/>
                  </a:cubicBezTo>
                  <a:cubicBezTo>
                    <a:pt x="1081" y="368"/>
                    <a:pt x="1090" y="361"/>
                    <a:pt x="1097" y="355"/>
                  </a:cubicBezTo>
                  <a:cubicBezTo>
                    <a:pt x="1068" y="340"/>
                    <a:pt x="1068" y="340"/>
                    <a:pt x="1068" y="340"/>
                  </a:cubicBezTo>
                  <a:cubicBezTo>
                    <a:pt x="1068" y="340"/>
                    <a:pt x="1064" y="349"/>
                    <a:pt x="1055" y="359"/>
                  </a:cubicBezTo>
                  <a:close/>
                </a:path>
              </a:pathLst>
            </a:custGeom>
            <a:gradFill rotWithShape="1">
              <a:gsLst>
                <a:gs pos="0">
                  <a:srgbClr val="DDDDDD"/>
                </a:gs>
                <a:gs pos="100000">
                  <a:srgbClr val="C0C0C0"/>
                </a:gs>
              </a:gsLst>
              <a:lin ang="5400000" scaled="1"/>
            </a:gradFill>
            <a:ln w="19050" cap="flat" cmpd="sng">
              <a:solidFill>
                <a:srgbClr val="EAEAEA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</p:grpSp>
      <p:sp>
        <p:nvSpPr>
          <p:cNvPr id="17440" name="Text Box 230"/>
          <p:cNvSpPr txBox="1">
            <a:spLocks noChangeArrowheads="1"/>
          </p:cNvSpPr>
          <p:nvPr/>
        </p:nvSpPr>
        <p:spPr bwMode="auto">
          <a:xfrm>
            <a:off x="165100" y="3563938"/>
            <a:ext cx="741363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de-DE" sz="1200" b="1">
                <a:cs typeface="Arial" charset="0"/>
              </a:rPr>
              <a:t>Ukraine</a:t>
            </a:r>
            <a:endParaRPr lang="de-DE" sz="1200" b="1" noProof="1">
              <a:cs typeface="Arial" charset="0"/>
            </a:endParaRPr>
          </a:p>
        </p:txBody>
      </p:sp>
      <p:sp>
        <p:nvSpPr>
          <p:cNvPr id="17441" name="Text Box 235"/>
          <p:cNvSpPr txBox="1">
            <a:spLocks noChangeArrowheads="1"/>
          </p:cNvSpPr>
          <p:nvPr/>
        </p:nvSpPr>
        <p:spPr bwMode="auto">
          <a:xfrm>
            <a:off x="733425" y="3878263"/>
            <a:ext cx="457200" cy="228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ru-RU" sz="900" b="1">
                <a:cs typeface="Arial" charset="0"/>
              </a:rPr>
              <a:t>Киев</a:t>
            </a:r>
            <a:endParaRPr lang="en-US" sz="900" b="1">
              <a:cs typeface="Arial" charset="0"/>
            </a:endParaRPr>
          </a:p>
        </p:txBody>
      </p:sp>
      <p:sp>
        <p:nvSpPr>
          <p:cNvPr id="17442" name="Rectangle 75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ru-RU" dirty="0" smtClean="0"/>
              <a:t>Зарубежные дочерние компании </a:t>
            </a:r>
            <a:endParaRPr lang="ru-RU" noProof="1" smtClean="0"/>
          </a:p>
        </p:txBody>
      </p:sp>
      <p:grpSp>
        <p:nvGrpSpPr>
          <p:cNvPr id="17443" name="Group 240" descr="© INSCALE GmbH, 18.06.2010"/>
          <p:cNvGrpSpPr>
            <a:grpSpLocks/>
          </p:cNvGrpSpPr>
          <p:nvPr/>
        </p:nvGrpSpPr>
        <p:grpSpPr bwMode="auto">
          <a:xfrm>
            <a:off x="1154113" y="3462338"/>
            <a:ext cx="303212" cy="301625"/>
            <a:chOff x="3952" y="2806"/>
            <a:chExt cx="623" cy="622"/>
          </a:xfrm>
        </p:grpSpPr>
        <p:sp>
          <p:nvSpPr>
            <p:cNvPr id="17465" name="Oval 241" descr="© INSCALE GmbH, 18.06.201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4056" y="2909"/>
              <a:ext cx="416" cy="416"/>
            </a:xfrm>
            <a:prstGeom prst="ellipse">
              <a:avLst/>
            </a:prstGeom>
            <a:solidFill>
              <a:schemeClr val="bg1">
                <a:alpha val="50195"/>
              </a:schemeClr>
            </a:solidFill>
            <a:ln w="19050">
              <a:solidFill>
                <a:srgbClr val="EAEAEA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s-CZ"/>
            </a:p>
          </p:txBody>
        </p:sp>
        <p:sp>
          <p:nvSpPr>
            <p:cNvPr id="17466" name="Oval 242" descr="© INSCALE GmbH, 18.06.2010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952" y="2806"/>
              <a:ext cx="623" cy="622"/>
            </a:xfrm>
            <a:prstGeom prst="ellipse">
              <a:avLst/>
            </a:prstGeom>
            <a:noFill/>
            <a:ln w="19050">
              <a:solidFill>
                <a:srgbClr val="EAEAEA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s-CZ"/>
            </a:p>
          </p:txBody>
        </p:sp>
        <p:sp>
          <p:nvSpPr>
            <p:cNvPr id="17467" name="Oval 243" descr="© INSCALE GmbH, 18.06.2010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206" y="3055"/>
              <a:ext cx="118" cy="118"/>
            </a:xfrm>
            <a:prstGeom prst="ellipse">
              <a:avLst/>
            </a:prstGeom>
            <a:solidFill>
              <a:srgbClr val="902016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s-CZ"/>
            </a:p>
          </p:txBody>
        </p:sp>
      </p:grpSp>
      <p:grpSp>
        <p:nvGrpSpPr>
          <p:cNvPr id="17444" name="Group 244" descr="© INSCALE GmbH, 18.06.2010"/>
          <p:cNvGrpSpPr>
            <a:grpSpLocks/>
          </p:cNvGrpSpPr>
          <p:nvPr/>
        </p:nvGrpSpPr>
        <p:grpSpPr bwMode="auto">
          <a:xfrm>
            <a:off x="500063" y="3829050"/>
            <a:ext cx="303212" cy="301625"/>
            <a:chOff x="3952" y="2806"/>
            <a:chExt cx="623" cy="622"/>
          </a:xfrm>
        </p:grpSpPr>
        <p:sp>
          <p:nvSpPr>
            <p:cNvPr id="17462" name="Oval 245" descr="© INSCALE GmbH, 18.06.2010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056" y="2909"/>
              <a:ext cx="416" cy="416"/>
            </a:xfrm>
            <a:prstGeom prst="ellipse">
              <a:avLst/>
            </a:prstGeom>
            <a:solidFill>
              <a:schemeClr val="bg1">
                <a:alpha val="50195"/>
              </a:schemeClr>
            </a:solidFill>
            <a:ln w="19050">
              <a:solidFill>
                <a:srgbClr val="EAEAEA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s-CZ"/>
            </a:p>
          </p:txBody>
        </p:sp>
        <p:sp>
          <p:nvSpPr>
            <p:cNvPr id="17463" name="Oval 246" descr="© INSCALE GmbH, 18.06.201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952" y="2806"/>
              <a:ext cx="623" cy="622"/>
            </a:xfrm>
            <a:prstGeom prst="ellipse">
              <a:avLst/>
            </a:prstGeom>
            <a:noFill/>
            <a:ln w="19050">
              <a:solidFill>
                <a:srgbClr val="EAEAEA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s-CZ"/>
            </a:p>
          </p:txBody>
        </p:sp>
        <p:sp>
          <p:nvSpPr>
            <p:cNvPr id="17464" name="Oval 247" descr="© INSCALE GmbH, 18.06.201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206" y="3055"/>
              <a:ext cx="118" cy="118"/>
            </a:xfrm>
            <a:prstGeom prst="ellipse">
              <a:avLst/>
            </a:prstGeom>
            <a:solidFill>
              <a:srgbClr val="902016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s-CZ"/>
            </a:p>
          </p:txBody>
        </p:sp>
      </p:grpSp>
      <p:sp>
        <p:nvSpPr>
          <p:cNvPr id="17445" name="AutoShape 5"/>
          <p:cNvSpPr>
            <a:spLocks/>
          </p:cNvSpPr>
          <p:nvPr/>
        </p:nvSpPr>
        <p:spPr bwMode="auto">
          <a:xfrm>
            <a:off x="1687513" y="5207000"/>
            <a:ext cx="3070225" cy="601663"/>
          </a:xfrm>
          <a:prstGeom prst="borderCallout2">
            <a:avLst>
              <a:gd name="adj1" fmla="val 18995"/>
              <a:gd name="adj2" fmla="val -2481"/>
              <a:gd name="adj3" fmla="val 18995"/>
              <a:gd name="adj4" fmla="val -7602"/>
              <a:gd name="adj5" fmla="val -206333"/>
              <a:gd name="adj6" fmla="val -33662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ru-RU" sz="1400">
                <a:solidFill>
                  <a:schemeClr val="bg1"/>
                </a:solidFill>
                <a:cs typeface="Arial" charset="0"/>
              </a:rPr>
              <a:t>Представительство </a:t>
            </a:r>
          </a:p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ru-RU" sz="1400">
                <a:solidFill>
                  <a:schemeClr val="bg1"/>
                </a:solidFill>
                <a:cs typeface="Arial" charset="0"/>
              </a:rPr>
              <a:t>и дочерняя компания «АЛТА УКР»</a:t>
            </a:r>
            <a:endParaRPr lang="cs-CZ" sz="140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7446" name="AutoShape 4"/>
          <p:cNvSpPr>
            <a:spLocks/>
          </p:cNvSpPr>
          <p:nvPr/>
        </p:nvSpPr>
        <p:spPr bwMode="auto">
          <a:xfrm>
            <a:off x="1657350" y="1258888"/>
            <a:ext cx="3100388" cy="720725"/>
          </a:xfrm>
          <a:prstGeom prst="borderCallout2">
            <a:avLst>
              <a:gd name="adj1" fmla="val 18227"/>
              <a:gd name="adj2" fmla="val -2458"/>
              <a:gd name="adj3" fmla="val 18227"/>
              <a:gd name="adj4" fmla="val -6093"/>
              <a:gd name="adj5" fmla="val 331725"/>
              <a:gd name="adj6" fmla="val -11134"/>
            </a:avLst>
          </a:prstGeom>
          <a:solidFill>
            <a:srgbClr val="0061B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ru-RU" sz="1400" dirty="0">
                <a:solidFill>
                  <a:schemeClr val="bg1"/>
                </a:solidFill>
                <a:cs typeface="Arial" charset="0"/>
              </a:rPr>
              <a:t>Представительство </a:t>
            </a:r>
          </a:p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ru-RU" sz="1400" dirty="0">
                <a:solidFill>
                  <a:schemeClr val="bg1"/>
                </a:solidFill>
                <a:cs typeface="Arial" charset="0"/>
              </a:rPr>
              <a:t>и дочерняя компания </a:t>
            </a:r>
            <a:endParaRPr lang="ru-RU" sz="1400" dirty="0" smtClean="0">
              <a:solidFill>
                <a:schemeClr val="bg1"/>
              </a:solidFill>
              <a:cs typeface="Arial" charset="0"/>
            </a:endParaRPr>
          </a:p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ru-RU" sz="1400" dirty="0" smtClean="0">
                <a:solidFill>
                  <a:schemeClr val="bg1"/>
                </a:solidFill>
                <a:cs typeface="Arial" charset="0"/>
              </a:rPr>
              <a:t>«</a:t>
            </a:r>
            <a:r>
              <a:rPr lang="ru-RU" sz="1400" dirty="0">
                <a:solidFill>
                  <a:schemeClr val="bg1"/>
                </a:solidFill>
                <a:cs typeface="Arial" charset="0"/>
              </a:rPr>
              <a:t>АЛТА -</a:t>
            </a:r>
            <a:r>
              <a:rPr lang="ru-RU" sz="1400" dirty="0" smtClean="0">
                <a:solidFill>
                  <a:schemeClr val="bg1"/>
                </a:solidFill>
                <a:cs typeface="Arial" charset="0"/>
              </a:rPr>
              <a:t>РУСЬ»</a:t>
            </a:r>
            <a:endParaRPr lang="cs-CZ" sz="1400" dirty="0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17447" name="Group 248" descr="© INSCALE GmbH, 18.06.2010"/>
          <p:cNvGrpSpPr>
            <a:grpSpLocks/>
          </p:cNvGrpSpPr>
          <p:nvPr/>
        </p:nvGrpSpPr>
        <p:grpSpPr bwMode="auto">
          <a:xfrm>
            <a:off x="1470025" y="3028950"/>
            <a:ext cx="303213" cy="301625"/>
            <a:chOff x="3952" y="2806"/>
            <a:chExt cx="623" cy="622"/>
          </a:xfrm>
        </p:grpSpPr>
        <p:sp>
          <p:nvSpPr>
            <p:cNvPr id="17459" name="Oval 249" descr="© INSCALE GmbH, 18.06.201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056" y="2909"/>
              <a:ext cx="416" cy="416"/>
            </a:xfrm>
            <a:prstGeom prst="ellipse">
              <a:avLst/>
            </a:prstGeom>
            <a:solidFill>
              <a:schemeClr val="bg1">
                <a:alpha val="50195"/>
              </a:schemeClr>
            </a:solidFill>
            <a:ln w="19050">
              <a:solidFill>
                <a:srgbClr val="EAEAEA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s-CZ"/>
            </a:p>
          </p:txBody>
        </p:sp>
        <p:sp>
          <p:nvSpPr>
            <p:cNvPr id="17460" name="Oval 250" descr="© INSCALE GmbH, 18.06.201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952" y="2806"/>
              <a:ext cx="623" cy="622"/>
            </a:xfrm>
            <a:prstGeom prst="ellipse">
              <a:avLst/>
            </a:prstGeom>
            <a:noFill/>
            <a:ln w="19050">
              <a:solidFill>
                <a:srgbClr val="EAEAEA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s-CZ"/>
            </a:p>
          </p:txBody>
        </p:sp>
        <p:sp>
          <p:nvSpPr>
            <p:cNvPr id="17461" name="Oval 251" descr="© INSCALE GmbH, 18.06.201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206" y="3055"/>
              <a:ext cx="118" cy="118"/>
            </a:xfrm>
            <a:prstGeom prst="ellipse">
              <a:avLst/>
            </a:prstGeom>
            <a:solidFill>
              <a:srgbClr val="902016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s-CZ"/>
            </a:p>
          </p:txBody>
        </p:sp>
      </p:grpSp>
      <p:grpSp>
        <p:nvGrpSpPr>
          <p:cNvPr id="17448" name="Group 252" descr="© INSCALE GmbH, 18.06.2010"/>
          <p:cNvGrpSpPr>
            <a:grpSpLocks/>
          </p:cNvGrpSpPr>
          <p:nvPr/>
        </p:nvGrpSpPr>
        <p:grpSpPr bwMode="auto">
          <a:xfrm>
            <a:off x="2924175" y="3949700"/>
            <a:ext cx="303213" cy="301625"/>
            <a:chOff x="3952" y="2806"/>
            <a:chExt cx="623" cy="622"/>
          </a:xfrm>
        </p:grpSpPr>
        <p:sp>
          <p:nvSpPr>
            <p:cNvPr id="17456" name="Oval 253" descr="© INSCALE GmbH, 18.06.2010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056" y="2909"/>
              <a:ext cx="416" cy="416"/>
            </a:xfrm>
            <a:prstGeom prst="ellipse">
              <a:avLst/>
            </a:prstGeom>
            <a:solidFill>
              <a:schemeClr val="bg1">
                <a:alpha val="50195"/>
              </a:schemeClr>
            </a:solidFill>
            <a:ln w="19050">
              <a:solidFill>
                <a:srgbClr val="EAEAEA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s-CZ"/>
            </a:p>
          </p:txBody>
        </p:sp>
        <p:sp>
          <p:nvSpPr>
            <p:cNvPr id="17457" name="Oval 254" descr="© INSCALE GmbH, 18.06.2010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952" y="2806"/>
              <a:ext cx="623" cy="622"/>
            </a:xfrm>
            <a:prstGeom prst="ellipse">
              <a:avLst/>
            </a:prstGeom>
            <a:noFill/>
            <a:ln w="19050">
              <a:solidFill>
                <a:srgbClr val="EAEAEA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s-CZ"/>
            </a:p>
          </p:txBody>
        </p:sp>
        <p:sp>
          <p:nvSpPr>
            <p:cNvPr id="17458" name="Oval 255" descr="© INSCALE GmbH, 18.06.201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206" y="3055"/>
              <a:ext cx="118" cy="118"/>
            </a:xfrm>
            <a:prstGeom prst="ellipse">
              <a:avLst/>
            </a:prstGeom>
            <a:solidFill>
              <a:srgbClr val="902016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s-CZ"/>
            </a:p>
          </p:txBody>
        </p:sp>
      </p:grpSp>
      <p:sp>
        <p:nvSpPr>
          <p:cNvPr id="17449" name="AutoShape 6"/>
          <p:cNvSpPr>
            <a:spLocks/>
          </p:cNvSpPr>
          <p:nvPr/>
        </p:nvSpPr>
        <p:spPr bwMode="auto">
          <a:xfrm>
            <a:off x="4594225" y="2257424"/>
            <a:ext cx="2728913" cy="1098551"/>
          </a:xfrm>
          <a:prstGeom prst="borderCallout2">
            <a:avLst>
              <a:gd name="adj1" fmla="val 13926"/>
              <a:gd name="adj2" fmla="val -2792"/>
              <a:gd name="adj3" fmla="val 13926"/>
              <a:gd name="adj4" fmla="val -26005"/>
              <a:gd name="adj5" fmla="val 167308"/>
              <a:gd name="adj6" fmla="val -5544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0"/>
              </a:spcBef>
              <a:buClrTx/>
              <a:buFontTx/>
              <a:buNone/>
            </a:pPr>
            <a:endParaRPr lang="ru-RU" sz="1400" dirty="0">
              <a:solidFill>
                <a:schemeClr val="bg1"/>
              </a:solidFill>
              <a:cs typeface="Arial" charset="0"/>
            </a:endParaRPr>
          </a:p>
          <a:p>
            <a:pPr algn="ctr">
              <a:spcBef>
                <a:spcPct val="0"/>
              </a:spcBef>
              <a:buClrTx/>
              <a:buNone/>
            </a:pPr>
            <a:r>
              <a:rPr lang="ru-RU" sz="1400" dirty="0" smtClean="0">
                <a:solidFill>
                  <a:schemeClr val="bg1"/>
                </a:solidFill>
                <a:cs typeface="Arial" charset="0"/>
              </a:rPr>
              <a:t>Дочерняя </a:t>
            </a:r>
            <a:r>
              <a:rPr lang="ru-RU" sz="1400" dirty="0">
                <a:solidFill>
                  <a:schemeClr val="bg1"/>
                </a:solidFill>
                <a:cs typeface="Arial" charset="0"/>
              </a:rPr>
              <a:t>компания </a:t>
            </a:r>
            <a:endParaRPr lang="ru-RU" sz="1400" dirty="0" smtClean="0">
              <a:solidFill>
                <a:schemeClr val="bg1"/>
              </a:solidFill>
              <a:cs typeface="Arial" charset="0"/>
            </a:endParaRPr>
          </a:p>
          <a:p>
            <a:pPr algn="ctr">
              <a:spcBef>
                <a:spcPct val="0"/>
              </a:spcBef>
              <a:buClrTx/>
              <a:buNone/>
            </a:pPr>
            <a:r>
              <a:rPr lang="ru-RU" sz="1400" dirty="0" smtClean="0">
                <a:solidFill>
                  <a:schemeClr val="bg1"/>
                </a:solidFill>
                <a:cs typeface="Arial" charset="0"/>
              </a:rPr>
              <a:t>«</a:t>
            </a:r>
            <a:r>
              <a:rPr lang="ru-RU" sz="1400" dirty="0">
                <a:solidFill>
                  <a:schemeClr val="bg1"/>
                </a:solidFill>
                <a:cs typeface="Arial" charset="0"/>
              </a:rPr>
              <a:t>АЛТА -РУСЬ»</a:t>
            </a:r>
            <a:endParaRPr lang="cs-CZ" sz="1400" dirty="0">
              <a:solidFill>
                <a:schemeClr val="bg1"/>
              </a:solidFill>
              <a:cs typeface="Arial" charset="0"/>
            </a:endParaRPr>
          </a:p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ru-RU" sz="1400" dirty="0" smtClean="0">
                <a:solidFill>
                  <a:schemeClr val="bg1"/>
                </a:solidFill>
                <a:cs typeface="Arial" charset="0"/>
              </a:rPr>
              <a:t>«</a:t>
            </a:r>
            <a:r>
              <a:rPr lang="ru-RU" sz="1400" dirty="0">
                <a:solidFill>
                  <a:schemeClr val="bg1"/>
                </a:solidFill>
                <a:cs typeface="Arial" charset="0"/>
              </a:rPr>
              <a:t>АЛТА УРАЛ</a:t>
            </a:r>
            <a:r>
              <a:rPr lang="ru-RU" sz="1400" dirty="0" smtClean="0">
                <a:solidFill>
                  <a:schemeClr val="bg1"/>
                </a:solidFill>
                <a:cs typeface="Arial" charset="0"/>
              </a:rPr>
              <a:t>»</a:t>
            </a:r>
            <a:endParaRPr lang="cs-CZ" sz="1400" dirty="0">
              <a:cs typeface="Arial" charset="0"/>
            </a:endParaRPr>
          </a:p>
        </p:txBody>
      </p:sp>
      <p:sp>
        <p:nvSpPr>
          <p:cNvPr id="17450" name="Text Box 256"/>
          <p:cNvSpPr txBox="1">
            <a:spLocks noChangeArrowheads="1"/>
          </p:cNvSpPr>
          <p:nvPr/>
        </p:nvSpPr>
        <p:spPr bwMode="auto">
          <a:xfrm>
            <a:off x="760413" y="4125913"/>
            <a:ext cx="593725" cy="228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ru-RU" sz="900" b="1">
                <a:cs typeface="Arial" charset="0"/>
              </a:rPr>
              <a:t>Донецк</a:t>
            </a:r>
            <a:endParaRPr lang="en-US" sz="900" b="1">
              <a:cs typeface="Arial" charset="0"/>
            </a:endParaRPr>
          </a:p>
        </p:txBody>
      </p:sp>
      <p:sp>
        <p:nvSpPr>
          <p:cNvPr id="17451" name="Text Box 257"/>
          <p:cNvSpPr txBox="1">
            <a:spLocks noChangeArrowheads="1"/>
          </p:cNvSpPr>
          <p:nvPr/>
        </p:nvSpPr>
        <p:spPr bwMode="auto">
          <a:xfrm>
            <a:off x="1404938" y="3506788"/>
            <a:ext cx="603250" cy="228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ru-RU" sz="900" b="1">
                <a:cs typeface="Arial" charset="0"/>
              </a:rPr>
              <a:t>Москва</a:t>
            </a:r>
            <a:endParaRPr lang="en-US" sz="900" b="1">
              <a:cs typeface="Arial" charset="0"/>
            </a:endParaRPr>
          </a:p>
        </p:txBody>
      </p:sp>
      <p:sp>
        <p:nvSpPr>
          <p:cNvPr id="17452" name="Text Box 258"/>
          <p:cNvSpPr txBox="1">
            <a:spLocks noChangeArrowheads="1"/>
          </p:cNvSpPr>
          <p:nvPr/>
        </p:nvSpPr>
        <p:spPr bwMode="auto">
          <a:xfrm>
            <a:off x="1712913" y="3095625"/>
            <a:ext cx="1128712" cy="228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ru-RU" sz="900" b="1">
                <a:cs typeface="Arial" charset="0"/>
              </a:rPr>
              <a:t>Санкт Петербург</a:t>
            </a:r>
            <a:endParaRPr lang="en-US" sz="900" b="1">
              <a:cs typeface="Arial" charset="0"/>
            </a:endParaRPr>
          </a:p>
        </p:txBody>
      </p:sp>
      <p:sp>
        <p:nvSpPr>
          <p:cNvPr id="17453" name="Text Box 259"/>
          <p:cNvSpPr txBox="1">
            <a:spLocks noChangeArrowheads="1"/>
          </p:cNvSpPr>
          <p:nvPr/>
        </p:nvSpPr>
        <p:spPr bwMode="auto">
          <a:xfrm>
            <a:off x="3175000" y="3987800"/>
            <a:ext cx="958850" cy="228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ru-RU" sz="900" b="1">
                <a:cs typeface="Arial" charset="0"/>
              </a:rPr>
              <a:t>Екатеринбург</a:t>
            </a:r>
            <a:endParaRPr lang="en-US" sz="900" b="1">
              <a:cs typeface="Arial" charset="0"/>
            </a:endParaRPr>
          </a:p>
        </p:txBody>
      </p:sp>
      <p:sp>
        <p:nvSpPr>
          <p:cNvPr id="17454" name="Text Box 260"/>
          <p:cNvSpPr txBox="1">
            <a:spLocks noChangeArrowheads="1"/>
          </p:cNvSpPr>
          <p:nvPr/>
        </p:nvSpPr>
        <p:spPr bwMode="auto">
          <a:xfrm>
            <a:off x="4470400" y="3868738"/>
            <a:ext cx="1598613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cs-CZ" sz="1200" b="1">
                <a:cs typeface="Arial" charset="0"/>
              </a:rPr>
              <a:t>Russian Federation</a:t>
            </a:r>
            <a:endParaRPr lang="cs-CZ" sz="1200" b="1" noProof="1">
              <a:cs typeface="Arial" charset="0"/>
            </a:endParaRPr>
          </a:p>
        </p:txBody>
      </p:sp>
      <p:sp>
        <p:nvSpPr>
          <p:cNvPr id="17455" name="Line 261"/>
          <p:cNvSpPr>
            <a:spLocks noChangeShapeType="1"/>
          </p:cNvSpPr>
          <p:nvPr/>
        </p:nvSpPr>
        <p:spPr bwMode="auto">
          <a:xfrm>
            <a:off x="1470025" y="1463675"/>
            <a:ext cx="150813" cy="17176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pic>
        <p:nvPicPr>
          <p:cNvPr id="67" name="Obrázek 3" descr="ALTA_logo_barevne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278812" y="6237287"/>
            <a:ext cx="865188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Zástupný symbol pro zápatí 2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r>
              <a:rPr lang="ru-RU">
                <a:latin typeface="Arial" charset="0"/>
              </a:rPr>
              <a:t>Страница</a:t>
            </a:r>
            <a:r>
              <a:rPr lang="de-DE">
                <a:latin typeface="Arial" charset="0"/>
              </a:rPr>
              <a:t> </a:t>
            </a:r>
            <a:r>
              <a:rPr lang="de-DE">
                <a:latin typeface="Arial" charset="0"/>
                <a:sym typeface="Wingdings" pitchFamily="2" charset="2"/>
              </a:rPr>
              <a:t></a:t>
            </a:r>
            <a:r>
              <a:rPr lang="de-DE">
                <a:latin typeface="Arial" charset="0"/>
              </a:rPr>
              <a:t> </a:t>
            </a:r>
            <a:fld id="{9EF22F86-52C1-471E-B7D9-0452AA590577}" type="slidenum">
              <a:rPr lang="de-DE">
                <a:latin typeface="Arial" charset="0"/>
              </a:rPr>
              <a:pPr/>
              <a:t>5</a:t>
            </a:fld>
            <a:endParaRPr lang="de-DE">
              <a:latin typeface="Arial" charset="0"/>
            </a:endParaRPr>
          </a:p>
        </p:txBody>
      </p:sp>
      <p:pic>
        <p:nvPicPr>
          <p:cNvPr id="23555" name="Picture 9" descr="obrabeni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3375" y="1555750"/>
            <a:ext cx="8496300" cy="4206875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</p:pic>
      <p:sp>
        <p:nvSpPr>
          <p:cNvPr id="23556" name="Rectangle 11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ru-RU" sz="2800" smtClean="0"/>
              <a:t>Металлообработка</a:t>
            </a:r>
            <a:endParaRPr lang="ru-RU" sz="2800" noProof="1" smtClean="0"/>
          </a:p>
        </p:txBody>
      </p:sp>
      <p:pic>
        <p:nvPicPr>
          <p:cNvPr id="5" name="Obrázek 3" descr="ALTA_logo_barevne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78812" y="6237287"/>
            <a:ext cx="865188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Zástupný symbol pro zápatí 2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r>
              <a:rPr lang="ru-RU">
                <a:latin typeface="Arial" charset="0"/>
              </a:rPr>
              <a:t>Страница</a:t>
            </a:r>
            <a:r>
              <a:rPr lang="de-DE">
                <a:latin typeface="Arial" charset="0"/>
              </a:rPr>
              <a:t> </a:t>
            </a:r>
            <a:r>
              <a:rPr lang="de-DE">
                <a:latin typeface="Arial" charset="0"/>
                <a:sym typeface="Wingdings" pitchFamily="2" charset="2"/>
              </a:rPr>
              <a:t></a:t>
            </a:r>
            <a:r>
              <a:rPr lang="de-DE">
                <a:latin typeface="Arial" charset="0"/>
              </a:rPr>
              <a:t> </a:t>
            </a:r>
            <a:fld id="{005F746C-5189-452E-8384-BFFF196D0F9F}" type="slidenum">
              <a:rPr lang="de-DE">
                <a:latin typeface="Arial" charset="0"/>
              </a:rPr>
              <a:pPr/>
              <a:t>6</a:t>
            </a:fld>
            <a:endParaRPr lang="de-DE">
              <a:latin typeface="Arial" charset="0"/>
            </a:endParaRPr>
          </a:p>
        </p:txBody>
      </p:sp>
      <p:pic>
        <p:nvPicPr>
          <p:cNvPr id="25603" name="Picture 4" descr="SMT_ru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5438" y="-3175"/>
            <a:ext cx="2558439" cy="1809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4" name="Picture 5" descr="SMT-tabule-1mx42cm-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19222" y="1646849"/>
            <a:ext cx="8004542" cy="3362087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</p:pic>
      <p:pic>
        <p:nvPicPr>
          <p:cNvPr id="5" name="Obrázek 3" descr="ALTA_logo_barevne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278812" y="6237287"/>
            <a:ext cx="865188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Obdélník 1"/>
          <p:cNvSpPr/>
          <p:nvPr/>
        </p:nvSpPr>
        <p:spPr>
          <a:xfrm>
            <a:off x="392967" y="5106089"/>
            <a:ext cx="8421565" cy="13726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61B2"/>
              </a:buClr>
            </a:pPr>
            <a:r>
              <a:rPr lang="ru-RU" altLang="ru-RU" dirty="0">
                <a:solidFill>
                  <a:srgbClr val="000000"/>
                </a:solidFill>
              </a:rPr>
              <a:t>производство и установка сверхтяжелых вертикальных токарных </a:t>
            </a:r>
            <a:r>
              <a:rPr lang="ru-RU" altLang="ru-RU" dirty="0" smtClean="0">
                <a:solidFill>
                  <a:srgbClr val="000000"/>
                </a:solidFill>
              </a:rPr>
              <a:t>станков</a:t>
            </a:r>
          </a:p>
          <a:p>
            <a:pPr>
              <a:buClr>
                <a:srgbClr val="0061B2"/>
              </a:buClr>
            </a:pPr>
            <a:r>
              <a:rPr lang="ru-RU" altLang="ru-RU" dirty="0">
                <a:solidFill>
                  <a:srgbClr val="000000"/>
                </a:solidFill>
              </a:rPr>
              <a:t>с 1951г. производство вертикальных токарных станков с поворотным столом</a:t>
            </a:r>
            <a:endParaRPr lang="cs-CZ" altLang="ru-RU" dirty="0">
              <a:solidFill>
                <a:srgbClr val="000000"/>
              </a:solidFill>
            </a:endParaRPr>
          </a:p>
          <a:p>
            <a:pPr>
              <a:buClr>
                <a:srgbClr val="0061B2"/>
              </a:buClr>
            </a:pPr>
            <a:r>
              <a:rPr lang="ru-RU" altLang="ru-RU" dirty="0">
                <a:solidFill>
                  <a:srgbClr val="000000"/>
                </a:solidFill>
              </a:rPr>
              <a:t>продано более 720 вертикальных </a:t>
            </a:r>
            <a:r>
              <a:rPr lang="ru-RU" altLang="ru-RU" dirty="0" smtClean="0">
                <a:solidFill>
                  <a:srgbClr val="000000"/>
                </a:solidFill>
              </a:rPr>
              <a:t>станков</a:t>
            </a:r>
          </a:p>
          <a:p>
            <a:pPr>
              <a:buClr>
                <a:srgbClr val="0061B2"/>
              </a:buClr>
            </a:pPr>
            <a:endParaRPr lang="cs-CZ" altLang="ru-RU" dirty="0">
              <a:solidFill>
                <a:srgbClr val="000000"/>
              </a:solidFill>
            </a:endParaRPr>
          </a:p>
        </p:txBody>
      </p:sp>
    </p:spTree>
    <p:custDataLst>
      <p:tags r:id="rId1"/>
    </p:custData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Zástupný symbol pro zápatí 2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r>
              <a:rPr lang="ru-RU">
                <a:latin typeface="Arial" charset="0"/>
              </a:rPr>
              <a:t>Страница</a:t>
            </a:r>
            <a:r>
              <a:rPr lang="de-DE">
                <a:latin typeface="Arial" charset="0"/>
              </a:rPr>
              <a:t> </a:t>
            </a:r>
            <a:r>
              <a:rPr lang="de-DE">
                <a:latin typeface="Arial" charset="0"/>
                <a:sym typeface="Wingdings" pitchFamily="2" charset="2"/>
              </a:rPr>
              <a:t></a:t>
            </a:r>
            <a:r>
              <a:rPr lang="de-DE">
                <a:latin typeface="Arial" charset="0"/>
              </a:rPr>
              <a:t> </a:t>
            </a:r>
            <a:fld id="{B2FE7406-9480-4B52-83C5-8AA50CBDD31A}" type="slidenum">
              <a:rPr lang="de-DE">
                <a:latin typeface="Arial" charset="0"/>
              </a:rPr>
              <a:pPr/>
              <a:t>7</a:t>
            </a:fld>
            <a:endParaRPr lang="de-DE">
              <a:latin typeface="Arial" charset="0"/>
            </a:endParaRPr>
          </a:p>
        </p:txBody>
      </p:sp>
      <p:sp>
        <p:nvSpPr>
          <p:cNvPr id="3277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щая информация</a:t>
            </a:r>
            <a:endParaRPr lang="ru-RU" noProof="1" smtClean="0"/>
          </a:p>
        </p:txBody>
      </p:sp>
      <p:sp>
        <p:nvSpPr>
          <p:cNvPr id="32772" name="Rectangle 3"/>
          <p:cNvSpPr>
            <a:spLocks noChangeArrowheads="1"/>
          </p:cNvSpPr>
          <p:nvPr/>
        </p:nvSpPr>
        <p:spPr bwMode="gray">
          <a:xfrm>
            <a:off x="4672013" y="1555750"/>
            <a:ext cx="4164012" cy="360363"/>
          </a:xfrm>
          <a:prstGeom prst="rect">
            <a:avLst/>
          </a:prstGeom>
          <a:solidFill>
            <a:schemeClr val="accent1"/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01688" eaLnBrk="0" hangingPunct="0">
              <a:spcBef>
                <a:spcPct val="0"/>
              </a:spcBef>
              <a:buClrTx/>
              <a:buFontTx/>
              <a:buNone/>
            </a:pPr>
            <a:r>
              <a:rPr lang="cs-CZ" sz="1800" b="1">
                <a:solidFill>
                  <a:srgbClr val="FFFFFF"/>
                </a:solidFill>
              </a:rPr>
              <a:t>TOS KUŘIM - OS</a:t>
            </a:r>
            <a:endParaRPr lang="cs-CZ" sz="1800" b="1" noProof="1">
              <a:solidFill>
                <a:srgbClr val="FFFFFF"/>
              </a:solidFill>
            </a:endParaRPr>
          </a:p>
        </p:txBody>
      </p:sp>
      <p:sp>
        <p:nvSpPr>
          <p:cNvPr id="32773" name="Rectangle 4"/>
          <p:cNvSpPr>
            <a:spLocks noChangeArrowheads="1"/>
          </p:cNvSpPr>
          <p:nvPr/>
        </p:nvSpPr>
        <p:spPr bwMode="gray">
          <a:xfrm>
            <a:off x="4672013" y="1916113"/>
            <a:ext cx="4164012" cy="3879850"/>
          </a:xfrm>
          <a:prstGeom prst="rect">
            <a:avLst/>
          </a:prstGeom>
          <a:solidFill>
            <a:schemeClr val="bg1"/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lIns="108000" tIns="108000" rIns="72000" bIns="72000"/>
          <a:lstStyle/>
          <a:p>
            <a:pPr marL="190500" indent="-190500">
              <a:buClr>
                <a:srgbClr val="0061B2"/>
              </a:buClr>
            </a:pPr>
            <a:r>
              <a:rPr lang="ru-RU" altLang="ru-RU" dirty="0">
                <a:solidFill>
                  <a:srgbClr val="000000"/>
                </a:solidFill>
              </a:rPr>
              <a:t>Продольно-фрезерные станки </a:t>
            </a:r>
            <a:br>
              <a:rPr lang="ru-RU" altLang="ru-RU" dirty="0">
                <a:solidFill>
                  <a:srgbClr val="000000"/>
                </a:solidFill>
              </a:rPr>
            </a:br>
            <a:r>
              <a:rPr lang="ru-RU" altLang="ru-RU" dirty="0">
                <a:solidFill>
                  <a:srgbClr val="000000"/>
                </a:solidFill>
              </a:rPr>
              <a:t>и фрезерные центры с передвижной </a:t>
            </a:r>
            <a:br>
              <a:rPr lang="ru-RU" altLang="ru-RU" dirty="0">
                <a:solidFill>
                  <a:srgbClr val="000000"/>
                </a:solidFill>
              </a:rPr>
            </a:br>
            <a:r>
              <a:rPr lang="ru-RU" altLang="ru-RU" dirty="0">
                <a:solidFill>
                  <a:srgbClr val="000000"/>
                </a:solidFill>
              </a:rPr>
              <a:t>портальной </a:t>
            </a:r>
            <a:r>
              <a:rPr lang="ru-RU" altLang="ru-RU" dirty="0" smtClean="0">
                <a:solidFill>
                  <a:srgbClr val="000000"/>
                </a:solidFill>
              </a:rPr>
              <a:t>опорой</a:t>
            </a:r>
          </a:p>
          <a:p>
            <a:pPr marL="190500" indent="-190500">
              <a:buClr>
                <a:srgbClr val="0061B2"/>
              </a:buClr>
            </a:pPr>
            <a:r>
              <a:rPr lang="ru-RU" altLang="ru-RU" dirty="0">
                <a:solidFill>
                  <a:srgbClr val="000000"/>
                </a:solidFill>
              </a:rPr>
              <a:t>Обрабатывающие фрезерные центры </a:t>
            </a:r>
            <a:r>
              <a:rPr lang="cs-CZ" altLang="ru-RU" dirty="0">
                <a:solidFill>
                  <a:srgbClr val="000000"/>
                </a:solidFill>
              </a:rPr>
              <a:t/>
            </a:r>
            <a:br>
              <a:rPr lang="cs-CZ" altLang="ru-RU" dirty="0">
                <a:solidFill>
                  <a:srgbClr val="000000"/>
                </a:solidFill>
              </a:rPr>
            </a:br>
            <a:r>
              <a:rPr lang="ru-RU" altLang="ru-RU" dirty="0">
                <a:solidFill>
                  <a:srgbClr val="000000"/>
                </a:solidFill>
              </a:rPr>
              <a:t>с фиксированным </a:t>
            </a:r>
            <a:r>
              <a:rPr lang="ru-RU" altLang="ru-RU" dirty="0" smtClean="0">
                <a:solidFill>
                  <a:srgbClr val="000000"/>
                </a:solidFill>
              </a:rPr>
              <a:t>порталом</a:t>
            </a:r>
          </a:p>
          <a:p>
            <a:pPr marL="190500" indent="-190500">
              <a:buClr>
                <a:srgbClr val="0061B2"/>
              </a:buClr>
            </a:pPr>
            <a:r>
              <a:rPr lang="ru-RU" altLang="ru-RU" dirty="0"/>
              <a:t>Фрезерные станки с подвижной портальной </a:t>
            </a:r>
            <a:br>
              <a:rPr lang="ru-RU" altLang="ru-RU" dirty="0"/>
            </a:br>
            <a:r>
              <a:rPr lang="ru-RU" altLang="ru-RU" dirty="0"/>
              <a:t>опорой и обрабатывающие центры </a:t>
            </a:r>
            <a:br>
              <a:rPr lang="ru-RU" altLang="ru-RU" dirty="0"/>
            </a:br>
            <a:r>
              <a:rPr lang="ru-RU" altLang="ru-RU" dirty="0"/>
              <a:t>с передвижным столом и передвижной </a:t>
            </a:r>
            <a:br>
              <a:rPr lang="ru-RU" altLang="ru-RU" dirty="0"/>
            </a:br>
            <a:r>
              <a:rPr lang="ru-RU" altLang="ru-RU" dirty="0"/>
              <a:t>поперечной балкой «FRP (Q</a:t>
            </a:r>
            <a:r>
              <a:rPr lang="ru-RU" altLang="ru-RU" dirty="0" smtClean="0"/>
              <a:t>)»</a:t>
            </a:r>
          </a:p>
          <a:p>
            <a:pPr marL="190500" indent="-190500">
              <a:buClr>
                <a:srgbClr val="0061B2"/>
              </a:buClr>
            </a:pPr>
            <a:r>
              <a:rPr lang="ru-RU" altLang="ru-RU" dirty="0"/>
              <a:t>Напольные обрабатывающие центры</a:t>
            </a:r>
            <a:endParaRPr lang="ru-RU" altLang="ru-RU" dirty="0" smtClean="0"/>
          </a:p>
        </p:txBody>
      </p:sp>
      <p:pic>
        <p:nvPicPr>
          <p:cNvPr id="32777" name="Picture 7" descr="TOS_ru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94463" y="393700"/>
            <a:ext cx="2341562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Obrázek 3" descr="ALTA_logo_barevne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78812" y="6237287"/>
            <a:ext cx="865188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466725" y="1555750"/>
            <a:ext cx="4164013" cy="4392613"/>
          </a:xfrm>
          <a:prstGeom prst="rect">
            <a:avLst/>
          </a:prstGeom>
          <a:blipFill dpi="0" rotWithShape="1">
            <a:blip r:embed="rId6" cstate="print"/>
            <a:srcRect/>
            <a:stretch>
              <a:fillRect r="-18680"/>
            </a:stretch>
          </a:blipFill>
          <a:ln w="1905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cs-CZ">
              <a:latin typeface="Arial" pitchFamily="34" charset="0"/>
            </a:endParaRPr>
          </a:p>
        </p:txBody>
      </p:sp>
    </p:spTree>
    <p:custDataLst>
      <p:tags r:id="rId1"/>
    </p:custData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Zástupný symbol pro zápatí 2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r>
              <a:rPr lang="ru-RU">
                <a:latin typeface="Arial" charset="0"/>
              </a:rPr>
              <a:t>Страница</a:t>
            </a:r>
            <a:r>
              <a:rPr lang="de-DE">
                <a:latin typeface="Arial" charset="0"/>
              </a:rPr>
              <a:t> </a:t>
            </a:r>
            <a:r>
              <a:rPr lang="de-DE">
                <a:latin typeface="Arial" charset="0"/>
                <a:sym typeface="Wingdings" pitchFamily="2" charset="2"/>
              </a:rPr>
              <a:t></a:t>
            </a:r>
            <a:r>
              <a:rPr lang="de-DE">
                <a:latin typeface="Arial" charset="0"/>
              </a:rPr>
              <a:t> </a:t>
            </a:r>
            <a:fld id="{EAE60EC4-28DC-4A73-9D51-9449D9E3E843}" type="slidenum">
              <a:rPr lang="de-DE">
                <a:latin typeface="Arial" charset="0"/>
              </a:rPr>
              <a:pPr/>
              <a:t>8</a:t>
            </a:fld>
            <a:endParaRPr lang="de-DE">
              <a:latin typeface="Arial" charset="0"/>
            </a:endParaRPr>
          </a:p>
        </p:txBody>
      </p:sp>
      <p:sp>
        <p:nvSpPr>
          <p:cNvPr id="39939" name="Rectangle 2"/>
          <p:cNvSpPr>
            <a:spLocks noGrp="1" noChangeArrowheads="1"/>
          </p:cNvSpPr>
          <p:nvPr>
            <p:ph type="title"/>
          </p:nvPr>
        </p:nvSpPr>
        <p:spPr>
          <a:xfrm>
            <a:off x="332451" y="475456"/>
            <a:ext cx="8524875" cy="600075"/>
          </a:xfrm>
        </p:spPr>
        <p:txBody>
          <a:bodyPr/>
          <a:lstStyle/>
          <a:p>
            <a:r>
              <a:rPr lang="ru-RU" dirty="0" smtClean="0"/>
              <a:t>Общая информация</a:t>
            </a:r>
            <a:endParaRPr lang="ru-RU" noProof="1" smtClean="0"/>
          </a:p>
        </p:txBody>
      </p:sp>
      <p:sp>
        <p:nvSpPr>
          <p:cNvPr id="39940" name="Rectangle 3"/>
          <p:cNvSpPr>
            <a:spLocks noChangeArrowheads="1"/>
          </p:cNvSpPr>
          <p:nvPr/>
        </p:nvSpPr>
        <p:spPr bwMode="gray">
          <a:xfrm>
            <a:off x="4672013" y="1555750"/>
            <a:ext cx="4164012" cy="360363"/>
          </a:xfrm>
          <a:prstGeom prst="rect">
            <a:avLst/>
          </a:prstGeom>
          <a:solidFill>
            <a:schemeClr val="accent1"/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01688" eaLnBrk="0" hangingPunct="0">
              <a:spcBef>
                <a:spcPct val="0"/>
              </a:spcBef>
              <a:buClrTx/>
              <a:buFontTx/>
              <a:buNone/>
            </a:pPr>
            <a:r>
              <a:rPr lang="cs-CZ" sz="1800" b="1">
                <a:solidFill>
                  <a:srgbClr val="FFFFFF"/>
                </a:solidFill>
              </a:rPr>
              <a:t>ČKD BLANSKO-OS</a:t>
            </a:r>
            <a:endParaRPr lang="cs-CZ" sz="1800" b="1" noProof="1">
              <a:solidFill>
                <a:srgbClr val="FFFFFF"/>
              </a:solidFill>
            </a:endParaRPr>
          </a:p>
        </p:txBody>
      </p:sp>
      <p:sp>
        <p:nvSpPr>
          <p:cNvPr id="39941" name="Rectangle 4"/>
          <p:cNvSpPr>
            <a:spLocks noChangeArrowheads="1"/>
          </p:cNvSpPr>
          <p:nvPr/>
        </p:nvSpPr>
        <p:spPr bwMode="gray">
          <a:xfrm>
            <a:off x="4672013" y="1916113"/>
            <a:ext cx="4164012" cy="3879850"/>
          </a:xfrm>
          <a:prstGeom prst="rect">
            <a:avLst/>
          </a:prstGeom>
          <a:solidFill>
            <a:schemeClr val="bg1"/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lIns="108000" tIns="108000" rIns="72000" bIns="72000"/>
          <a:lstStyle/>
          <a:p>
            <a:pPr marL="190500" indent="-190500">
              <a:buClr>
                <a:srgbClr val="0061B2"/>
              </a:buClr>
            </a:pPr>
            <a:r>
              <a:rPr lang="ru-RU">
                <a:solidFill>
                  <a:srgbClr val="000000"/>
                </a:solidFill>
              </a:rPr>
              <a:t>производство и установка сверхтяжелых вертикальных токарных станков</a:t>
            </a:r>
            <a:endParaRPr lang="cs-CZ">
              <a:solidFill>
                <a:srgbClr val="000000"/>
              </a:solidFill>
            </a:endParaRPr>
          </a:p>
          <a:p>
            <a:pPr marL="190500" indent="-190500">
              <a:buClr>
                <a:srgbClr val="0061B2"/>
              </a:buClr>
            </a:pPr>
            <a:r>
              <a:rPr lang="ru-RU">
                <a:solidFill>
                  <a:srgbClr val="000000"/>
                </a:solidFill>
              </a:rPr>
              <a:t>с 1951г. производство вертикальных токарных станков с поворотным столом</a:t>
            </a:r>
            <a:endParaRPr lang="cs-CZ">
              <a:solidFill>
                <a:srgbClr val="000000"/>
              </a:solidFill>
            </a:endParaRPr>
          </a:p>
          <a:p>
            <a:pPr marL="190500" indent="-190500">
              <a:buClr>
                <a:srgbClr val="0061B2"/>
              </a:buClr>
            </a:pPr>
            <a:r>
              <a:rPr lang="ru-RU">
                <a:solidFill>
                  <a:srgbClr val="000000"/>
                </a:solidFill>
              </a:rPr>
              <a:t>с </a:t>
            </a:r>
            <a:r>
              <a:rPr lang="cs-CZ">
                <a:solidFill>
                  <a:srgbClr val="000000"/>
                </a:solidFill>
              </a:rPr>
              <a:t>2005 </a:t>
            </a:r>
            <a:r>
              <a:rPr lang="ru-RU">
                <a:solidFill>
                  <a:srgbClr val="000000"/>
                </a:solidFill>
              </a:rPr>
              <a:t>входит в состав группы АЛТА</a:t>
            </a:r>
            <a:endParaRPr lang="cs-CZ">
              <a:solidFill>
                <a:srgbClr val="000000"/>
              </a:solidFill>
            </a:endParaRPr>
          </a:p>
          <a:p>
            <a:pPr marL="190500" indent="-190500">
              <a:buClr>
                <a:srgbClr val="0061B2"/>
              </a:buClr>
            </a:pPr>
            <a:r>
              <a:rPr lang="ru-RU">
                <a:solidFill>
                  <a:srgbClr val="000000"/>
                </a:solidFill>
              </a:rPr>
              <a:t>новые производственные корпуса с 2011 г.</a:t>
            </a:r>
            <a:endParaRPr lang="cs-CZ">
              <a:solidFill>
                <a:srgbClr val="000000"/>
              </a:solidFill>
            </a:endParaRPr>
          </a:p>
          <a:p>
            <a:pPr marL="190500" indent="-190500">
              <a:buClr>
                <a:srgbClr val="0061B2"/>
              </a:buClr>
            </a:pPr>
            <a:r>
              <a:rPr lang="ru-RU">
                <a:solidFill>
                  <a:srgbClr val="000000"/>
                </a:solidFill>
              </a:rPr>
              <a:t>научно-исследовательская деятельность, разработки, производство и эксплуатация</a:t>
            </a:r>
            <a:endParaRPr lang="cs-CZ">
              <a:solidFill>
                <a:srgbClr val="000000"/>
              </a:solidFill>
            </a:endParaRPr>
          </a:p>
          <a:p>
            <a:pPr marL="190500" indent="-190500">
              <a:buClr>
                <a:srgbClr val="0061B2"/>
              </a:buClr>
            </a:pPr>
            <a:r>
              <a:rPr lang="ru-RU">
                <a:solidFill>
                  <a:srgbClr val="000000"/>
                </a:solidFill>
              </a:rPr>
              <a:t>продано более 720 вертикальных станков</a:t>
            </a:r>
            <a:endParaRPr lang="ru-RU" noProof="1">
              <a:solidFill>
                <a:srgbClr val="000000"/>
              </a:solidFill>
            </a:endParaRPr>
          </a:p>
        </p:txBody>
      </p:sp>
      <p:sp>
        <p:nvSpPr>
          <p:cNvPr id="544773" name="Rectangle 5"/>
          <p:cNvSpPr>
            <a:spLocks noChangeArrowheads="1"/>
          </p:cNvSpPr>
          <p:nvPr/>
        </p:nvSpPr>
        <p:spPr bwMode="auto">
          <a:xfrm>
            <a:off x="314325" y="1555750"/>
            <a:ext cx="4164013" cy="4240213"/>
          </a:xfrm>
          <a:prstGeom prst="rect">
            <a:avLst/>
          </a:prstGeom>
          <a:blipFill dpi="0" rotWithShape="1">
            <a:blip r:embed="rId4" cstate="print"/>
            <a:srcRect/>
            <a:stretch>
              <a:fillRect r="-11901"/>
            </a:stretch>
          </a:blipFill>
          <a:ln w="1905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cs-CZ">
              <a:latin typeface="Arial" pitchFamily="34" charset="0"/>
            </a:endParaRPr>
          </a:p>
        </p:txBody>
      </p:sp>
      <p:pic>
        <p:nvPicPr>
          <p:cNvPr id="39945" name="Picture 7" descr="CKD_rus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372100" y="393700"/>
            <a:ext cx="3454400" cy="896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Obrázek 3" descr="ALTA_logo_barevne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278812" y="6237287"/>
            <a:ext cx="865188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Zástupný symbol pro zápatí 2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r>
              <a:rPr lang="ru-RU">
                <a:latin typeface="Arial" charset="0"/>
              </a:rPr>
              <a:t>Страница</a:t>
            </a:r>
            <a:r>
              <a:rPr lang="de-DE">
                <a:latin typeface="Arial" charset="0"/>
              </a:rPr>
              <a:t> </a:t>
            </a:r>
            <a:r>
              <a:rPr lang="de-DE">
                <a:latin typeface="Arial" charset="0"/>
                <a:sym typeface="Wingdings" pitchFamily="2" charset="2"/>
              </a:rPr>
              <a:t></a:t>
            </a:r>
            <a:r>
              <a:rPr lang="de-DE">
                <a:latin typeface="Arial" charset="0"/>
              </a:rPr>
              <a:t> </a:t>
            </a:r>
            <a:fld id="{A2BCB51D-EB32-491A-BF0E-610A1C3CDFE7}" type="slidenum">
              <a:rPr lang="de-DE">
                <a:latin typeface="Arial" charset="0"/>
              </a:rPr>
              <a:pPr/>
              <a:t>9</a:t>
            </a:fld>
            <a:endParaRPr lang="de-DE">
              <a:latin typeface="Arial" charset="0"/>
            </a:endParaRPr>
          </a:p>
        </p:txBody>
      </p:sp>
      <p:sp>
        <p:nvSpPr>
          <p:cNvPr id="55299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258396"/>
            <a:ext cx="8524875" cy="1335942"/>
          </a:xfrm>
        </p:spPr>
        <p:txBody>
          <a:bodyPr/>
          <a:lstStyle/>
          <a:p>
            <a:pPr algn="ctr"/>
            <a:r>
              <a:rPr lang="ru-RU" sz="2800" dirty="0" smtClean="0"/>
              <a:t>Технологи</a:t>
            </a:r>
            <a:r>
              <a:rPr lang="ru-RU" sz="2800" dirty="0"/>
              <a:t>ческое</a:t>
            </a:r>
            <a:r>
              <a:rPr lang="ru-RU" sz="2800" dirty="0" smtClean="0"/>
              <a:t> оборудовани</a:t>
            </a:r>
            <a:r>
              <a:rPr lang="ru-RU" sz="2800" dirty="0"/>
              <a:t>е </a:t>
            </a: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>сопровождает </a:t>
            </a:r>
            <a:r>
              <a:rPr lang="ru-RU" sz="2800" dirty="0"/>
              <a:t>дочерняя компания  </a:t>
            </a:r>
            <a:br>
              <a:rPr lang="ru-RU" sz="2800" dirty="0"/>
            </a:br>
            <a:r>
              <a:rPr lang="ru-RU" sz="2800" dirty="0"/>
              <a:t>ООО «АЛТА – РУСЬ»</a:t>
            </a:r>
            <a:r>
              <a:rPr lang="ru-RU" sz="2800" noProof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ru-RU" sz="2800" noProof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ru-RU" sz="2800" noProof="1" smtClean="0"/>
          </a:p>
        </p:txBody>
      </p:sp>
      <p:pic>
        <p:nvPicPr>
          <p:cNvPr id="55300" name="Picture 4" descr="Bild_groß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4325" y="1812680"/>
            <a:ext cx="8515350" cy="4238625"/>
          </a:xfrm>
          <a:prstGeom prst="rect">
            <a:avLst/>
          </a:prstGeom>
          <a:noFill/>
          <a:ln w="12700">
            <a:solidFill>
              <a:srgbClr val="C0C0C0"/>
            </a:solidFill>
            <a:miter lim="800000"/>
            <a:headEnd/>
            <a:tailEnd/>
          </a:ln>
        </p:spPr>
      </p:pic>
      <p:pic>
        <p:nvPicPr>
          <p:cNvPr id="5" name="Obrázek 3" descr="ALTA_logo_barevne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78812" y="6237287"/>
            <a:ext cx="865188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032836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fnHPuJUkE.mt0_8N.Oc3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fnHPuJUkE.mt0_8N.Oc3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fnHPuJUkE.mt0_8N.Oc3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fnHPuJUkE.mt0_8N.Oc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heme/theme1.xml><?xml version="1.0" encoding="utf-8"?>
<a:theme xmlns:a="http://schemas.openxmlformats.org/drawingml/2006/main" name="PresentationLoad">
  <a:themeElements>
    <a:clrScheme name="PresentationLoad 1">
      <a:dk1>
        <a:srgbClr val="000000"/>
      </a:dk1>
      <a:lt1>
        <a:srgbClr val="FFFFFF"/>
      </a:lt1>
      <a:dk2>
        <a:srgbClr val="004074"/>
      </a:dk2>
      <a:lt2>
        <a:srgbClr val="FEA501"/>
      </a:lt2>
      <a:accent1>
        <a:srgbClr val="0061B2"/>
      </a:accent1>
      <a:accent2>
        <a:srgbClr val="2A79D0"/>
      </a:accent2>
      <a:accent3>
        <a:srgbClr val="FFFFFF"/>
      </a:accent3>
      <a:accent4>
        <a:srgbClr val="000000"/>
      </a:accent4>
      <a:accent5>
        <a:srgbClr val="AAB7D5"/>
      </a:accent5>
      <a:accent6>
        <a:srgbClr val="256DBC"/>
      </a:accent6>
      <a:hlink>
        <a:srgbClr val="69A2E1"/>
      </a:hlink>
      <a:folHlink>
        <a:srgbClr val="9DC2EB"/>
      </a:folHlink>
    </a:clrScheme>
    <a:fontScheme name="PresentationLo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rgbClr val="C0C0C0"/>
          </a:solidFill>
          <a:prstDash val="solid"/>
          <a:round/>
          <a:headEnd type="none" w="med" len="med"/>
          <a:tailEnd type="none" w="med" len="med"/>
        </a:ln>
        <a:effectLst>
          <a:outerShdw dist="53882" dir="2700000" algn="ctr" rotWithShape="0">
            <a:srgbClr val="808080"/>
          </a:outerShdw>
        </a:effectLst>
      </a:spPr>
      <a:bodyPr vert="horz" wrap="square" lIns="108000" tIns="108000" rIns="72000" bIns="72000" numCol="1" anchor="t" anchorCtr="0" compatLnSpc="1">
        <a:prstTxWarp prst="textNoShape">
          <a:avLst/>
        </a:prstTxWarp>
      </a:bodyPr>
      <a:lstStyle>
        <a:defPPr marL="190500" marR="0" indent="-190500" algn="l" defTabSz="914400" rtl="0" eaLnBrk="1" fontAlgn="base" latinLnBrk="0" hangingPunct="1">
          <a:lnSpc>
            <a:spcPct val="100000"/>
          </a:lnSpc>
          <a:spcBef>
            <a:spcPct val="40000"/>
          </a:spcBef>
          <a:spcAft>
            <a:spcPct val="0"/>
          </a:spcAft>
          <a:buClr>
            <a:srgbClr val="006699"/>
          </a:buClr>
          <a:buSzTx/>
          <a:buFont typeface="Wingdings" pitchFamily="2" charset="2"/>
          <a:buChar char="§"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rgbClr val="C0C0C0"/>
          </a:solidFill>
          <a:prstDash val="solid"/>
          <a:round/>
          <a:headEnd type="none" w="med" len="med"/>
          <a:tailEnd type="none" w="med" len="med"/>
        </a:ln>
        <a:effectLst>
          <a:outerShdw dist="53882" dir="2700000" algn="ctr" rotWithShape="0">
            <a:srgbClr val="808080"/>
          </a:outerShdw>
        </a:effectLst>
      </a:spPr>
      <a:bodyPr vert="horz" wrap="square" lIns="108000" tIns="108000" rIns="72000" bIns="72000" numCol="1" anchor="t" anchorCtr="0" compatLnSpc="1">
        <a:prstTxWarp prst="textNoShape">
          <a:avLst/>
        </a:prstTxWarp>
      </a:bodyPr>
      <a:lstStyle>
        <a:defPPr marL="190500" marR="0" indent="-190500" algn="l" defTabSz="914400" rtl="0" eaLnBrk="1" fontAlgn="base" latinLnBrk="0" hangingPunct="1">
          <a:lnSpc>
            <a:spcPct val="100000"/>
          </a:lnSpc>
          <a:spcBef>
            <a:spcPct val="40000"/>
          </a:spcBef>
          <a:spcAft>
            <a:spcPct val="0"/>
          </a:spcAft>
          <a:buClr>
            <a:srgbClr val="006699"/>
          </a:buClr>
          <a:buSzTx/>
          <a:buFont typeface="Wingdings" pitchFamily="2" charset="2"/>
          <a:buChar char="§"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PresentationLoad 1">
        <a:dk1>
          <a:srgbClr val="000000"/>
        </a:dk1>
        <a:lt1>
          <a:srgbClr val="FFFFFF"/>
        </a:lt1>
        <a:dk2>
          <a:srgbClr val="004074"/>
        </a:dk2>
        <a:lt2>
          <a:srgbClr val="FEA501"/>
        </a:lt2>
        <a:accent1>
          <a:srgbClr val="0061B2"/>
        </a:accent1>
        <a:accent2>
          <a:srgbClr val="2A79D0"/>
        </a:accent2>
        <a:accent3>
          <a:srgbClr val="FFFFFF"/>
        </a:accent3>
        <a:accent4>
          <a:srgbClr val="000000"/>
        </a:accent4>
        <a:accent5>
          <a:srgbClr val="AAB7D5"/>
        </a:accent5>
        <a:accent6>
          <a:srgbClr val="256DBC"/>
        </a:accent6>
        <a:hlink>
          <a:srgbClr val="69A2E1"/>
        </a:hlink>
        <a:folHlink>
          <a:srgbClr val="9DC2E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otiv sady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iv sady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Load</Template>
  <TotalTime>13339</TotalTime>
  <Words>853</Words>
  <Application>Microsoft Office PowerPoint</Application>
  <PresentationFormat>Экран (4:3)</PresentationFormat>
  <Paragraphs>205</Paragraphs>
  <Slides>23</Slides>
  <Notes>1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0" baseType="lpstr">
      <vt:lpstr>Arial Unicode MS</vt:lpstr>
      <vt:lpstr>Arial</vt:lpstr>
      <vt:lpstr>Arial Black</vt:lpstr>
      <vt:lpstr>Calibri</vt:lpstr>
      <vt:lpstr>Times New Roman</vt:lpstr>
      <vt:lpstr>Wingdings</vt:lpstr>
      <vt:lpstr>PresentationLoad</vt:lpstr>
      <vt:lpstr>Презентация группы «АЛТА»</vt:lpstr>
      <vt:lpstr>Общая информация</vt:lpstr>
      <vt:lpstr>Коммерческая направленность компании</vt:lpstr>
      <vt:lpstr>Зарубежные дочерние компании </vt:lpstr>
      <vt:lpstr>Металлообработка</vt:lpstr>
      <vt:lpstr>Презентация PowerPoint</vt:lpstr>
      <vt:lpstr>Общая информация</vt:lpstr>
      <vt:lpstr>Общая информация</vt:lpstr>
      <vt:lpstr>Технологическое оборудование  сопровождает дочерняя компания   ООО «АЛТА – РУСЬ» </vt:lpstr>
      <vt:lpstr>Гальванические линии</vt:lpstr>
      <vt:lpstr>Линии галванических покрытий</vt:lpstr>
      <vt:lpstr>Линии травления</vt:lpstr>
      <vt:lpstr>Системы для очистки вод , регенерация кислот</vt:lpstr>
      <vt:lpstr>Линии горячего оцинкования  </vt:lpstr>
      <vt:lpstr>Линии лакокрасочного оборудования и оборудования для подготовки поверхностей;</vt:lpstr>
      <vt:lpstr>Неразрушающий контроль</vt:lpstr>
      <vt:lpstr>Презентация PowerPoint</vt:lpstr>
      <vt:lpstr>Презентация PowerPoint</vt:lpstr>
      <vt:lpstr>Презентация PowerPoint</vt:lpstr>
      <vt:lpstr>Презентация PowerPoint</vt:lpstr>
      <vt:lpstr>Некоторые значительные проекты группы компании             АО «АЛТА» в АВИАЦИИ</vt:lpstr>
      <vt:lpstr>Презентация PowerPoint</vt:lpstr>
      <vt:lpstr>Благодарю за внимание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LTA</dc:title>
  <dc:creator>Vladimír Koženov</dc:creator>
  <dc:description>Kudela</dc:description>
  <cp:lastModifiedBy>User</cp:lastModifiedBy>
  <cp:revision>194</cp:revision>
  <cp:lastPrinted>2015-10-15T05:33:23Z</cp:lastPrinted>
  <dcterms:created xsi:type="dcterms:W3CDTF">2007-11-27T23:54:21Z</dcterms:created>
  <dcterms:modified xsi:type="dcterms:W3CDTF">2015-10-15T09:49:23Z</dcterms:modified>
</cp:coreProperties>
</file>